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7" r:id="rId4"/>
  </p:sldMasterIdLst>
  <p:notesMasterIdLst>
    <p:notesMasterId r:id="rId12"/>
  </p:notesMasterIdLst>
  <p:handoutMasterIdLst>
    <p:handoutMasterId r:id="rId13"/>
  </p:handoutMasterIdLst>
  <p:sldIdLst>
    <p:sldId id="2147327815" r:id="rId5"/>
    <p:sldId id="260" r:id="rId6"/>
    <p:sldId id="258" r:id="rId7"/>
    <p:sldId id="257" r:id="rId8"/>
    <p:sldId id="2147327812" r:id="rId9"/>
    <p:sldId id="2147327813" r:id="rId10"/>
    <p:sldId id="2147327814" r:id="rId11"/>
  </p:sldIdLst>
  <p:sldSz cx="12192000" cy="6858000"/>
  <p:notesSz cx="6858000" cy="9144000"/>
  <p:custDataLst>
    <p:tags r:id="rId1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88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EC1EEA1-F3F4-4525-902C-F5BE0E262B15}" v="4" dt="2023-10-13T23:15:59.041"/>
  </p1510:revLst>
</p1510:revInfo>
</file>

<file path=ppt/tableStyles.xml><?xml version="1.0" encoding="utf-8"?>
<a:tblStyleLst xmlns:a="http://schemas.openxmlformats.org/drawingml/2006/main" def="{F5AB1C69-6EDB-4FF4-983F-18BD219EF322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57" autoAdjust="0"/>
  </p:normalViewPr>
  <p:slideViewPr>
    <p:cSldViewPr snapToGrid="0" showGuides="1">
      <p:cViewPr varScale="1">
        <p:scale>
          <a:sx n="93" d="100"/>
          <a:sy n="93" d="100"/>
        </p:scale>
        <p:origin x="53" y="77"/>
      </p:cViewPr>
      <p:guideLst>
        <p:guide orient="horz" pos="2088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106" d="100"/>
          <a:sy n="106" d="100"/>
        </p:scale>
        <p:origin x="5274" y="12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20" Type="http://schemas.microsoft.com/office/2015/10/relationships/revisionInfo" Target="revisionInfo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Wendy Franks" userId="9d89d07878554eae" providerId="LiveId" clId="{1EC1EEA1-F3F4-4525-902C-F5BE0E262B15}"/>
    <pc:docChg chg="undo redo custSel modSld sldOrd modMainMaster">
      <pc:chgData name="Wendy Franks" userId="9d89d07878554eae" providerId="LiveId" clId="{1EC1EEA1-F3F4-4525-902C-F5BE0E262B15}" dt="2023-10-13T23:19:23.824" v="1554" actId="113"/>
      <pc:docMkLst>
        <pc:docMk/>
      </pc:docMkLst>
      <pc:sldChg chg="addSp modSp mod">
        <pc:chgData name="Wendy Franks" userId="9d89d07878554eae" providerId="LiveId" clId="{1EC1EEA1-F3F4-4525-902C-F5BE0E262B15}" dt="2023-10-13T22:57:39.700" v="558" actId="1582"/>
        <pc:sldMkLst>
          <pc:docMk/>
          <pc:sldMk cId="2740368078" sldId="257"/>
        </pc:sldMkLst>
        <pc:spChg chg="mod">
          <ac:chgData name="Wendy Franks" userId="9d89d07878554eae" providerId="LiveId" clId="{1EC1EEA1-F3F4-4525-902C-F5BE0E262B15}" dt="2023-10-13T22:54:27.431" v="352" actId="20577"/>
          <ac:spMkLst>
            <pc:docMk/>
            <pc:sldMk cId="2740368078" sldId="257"/>
            <ac:spMk id="3" creationId="{CA00744A-3E62-40D0-BC6B-97E14B24D5A2}"/>
          </ac:spMkLst>
        </pc:spChg>
        <pc:spChg chg="add mod">
          <ac:chgData name="Wendy Franks" userId="9d89d07878554eae" providerId="LiveId" clId="{1EC1EEA1-F3F4-4525-902C-F5BE0E262B15}" dt="2023-10-13T22:56:50.849" v="551" actId="1036"/>
          <ac:spMkLst>
            <pc:docMk/>
            <pc:sldMk cId="2740368078" sldId="257"/>
            <ac:spMk id="4" creationId="{99B7405C-C26B-2E66-FECD-B0E98149788D}"/>
          </ac:spMkLst>
        </pc:spChg>
        <pc:spChg chg="mod">
          <ac:chgData name="Wendy Franks" userId="9d89d07878554eae" providerId="LiveId" clId="{1EC1EEA1-F3F4-4525-902C-F5BE0E262B15}" dt="2023-10-13T22:47:30.657" v="75" actId="1035"/>
          <ac:spMkLst>
            <pc:docMk/>
            <pc:sldMk cId="2740368078" sldId="257"/>
            <ac:spMk id="5" creationId="{C797BC8B-50C9-0B99-289D-198C9B778136}"/>
          </ac:spMkLst>
        </pc:spChg>
        <pc:spChg chg="mod">
          <ac:chgData name="Wendy Franks" userId="9d89d07878554eae" providerId="LiveId" clId="{1EC1EEA1-F3F4-4525-902C-F5BE0E262B15}" dt="2023-10-13T22:57:14.134" v="556" actId="1035"/>
          <ac:spMkLst>
            <pc:docMk/>
            <pc:sldMk cId="2740368078" sldId="257"/>
            <ac:spMk id="6" creationId="{D706B877-EE8D-99F8-9D25-918CF601F6E8}"/>
          </ac:spMkLst>
        </pc:spChg>
        <pc:graphicFrameChg chg="mod">
          <ac:chgData name="Wendy Franks" userId="9d89d07878554eae" providerId="LiveId" clId="{1EC1EEA1-F3F4-4525-902C-F5BE0E262B15}" dt="2023-10-13T22:56:24.667" v="478" actId="14100"/>
          <ac:graphicFrameMkLst>
            <pc:docMk/>
            <pc:sldMk cId="2740368078" sldId="257"/>
            <ac:graphicFrameMk id="8" creationId="{29A9EE86-FEE8-43BF-ADF2-C6E0FB2BC9B7}"/>
          </ac:graphicFrameMkLst>
        </pc:graphicFrameChg>
        <pc:cxnChg chg="add mod">
          <ac:chgData name="Wendy Franks" userId="9d89d07878554eae" providerId="LiveId" clId="{1EC1EEA1-F3F4-4525-902C-F5BE0E262B15}" dt="2023-10-13T22:57:39.700" v="558" actId="1582"/>
          <ac:cxnSpMkLst>
            <pc:docMk/>
            <pc:sldMk cId="2740368078" sldId="257"/>
            <ac:cxnSpMk id="9" creationId="{D446078C-58F9-6ED3-4527-C17BDC157167}"/>
          </ac:cxnSpMkLst>
        </pc:cxnChg>
      </pc:sldChg>
      <pc:sldChg chg="modSp mod ord">
        <pc:chgData name="Wendy Franks" userId="9d89d07878554eae" providerId="LiveId" clId="{1EC1EEA1-F3F4-4525-902C-F5BE0E262B15}" dt="2023-10-13T22:46:14.018" v="4" actId="5793"/>
        <pc:sldMkLst>
          <pc:docMk/>
          <pc:sldMk cId="2567785105" sldId="258"/>
        </pc:sldMkLst>
        <pc:spChg chg="mod">
          <ac:chgData name="Wendy Franks" userId="9d89d07878554eae" providerId="LiveId" clId="{1EC1EEA1-F3F4-4525-902C-F5BE0E262B15}" dt="2023-10-13T22:46:08.751" v="3" actId="5793"/>
          <ac:spMkLst>
            <pc:docMk/>
            <pc:sldMk cId="2567785105" sldId="258"/>
            <ac:spMk id="2" creationId="{7A6E95CC-EC37-836F-B05C-01F36DBF8452}"/>
          </ac:spMkLst>
        </pc:spChg>
        <pc:spChg chg="mod">
          <ac:chgData name="Wendy Franks" userId="9d89d07878554eae" providerId="LiveId" clId="{1EC1EEA1-F3F4-4525-902C-F5BE0E262B15}" dt="2023-10-13T22:46:14.018" v="4" actId="5793"/>
          <ac:spMkLst>
            <pc:docMk/>
            <pc:sldMk cId="2567785105" sldId="258"/>
            <ac:spMk id="12" creationId="{349A223A-E3D1-17E2-09A5-8A677AFB4FDB}"/>
          </ac:spMkLst>
        </pc:spChg>
      </pc:sldChg>
      <pc:sldChg chg="modSp mod">
        <pc:chgData name="Wendy Franks" userId="9d89d07878554eae" providerId="LiveId" clId="{1EC1EEA1-F3F4-4525-902C-F5BE0E262B15}" dt="2023-10-13T22:59:17.353" v="679" actId="1036"/>
        <pc:sldMkLst>
          <pc:docMk/>
          <pc:sldMk cId="1556113198" sldId="2147327812"/>
        </pc:sldMkLst>
        <pc:spChg chg="mod">
          <ac:chgData name="Wendy Franks" userId="9d89d07878554eae" providerId="LiveId" clId="{1EC1EEA1-F3F4-4525-902C-F5BE0E262B15}" dt="2023-10-13T22:59:17.353" v="679" actId="1036"/>
          <ac:spMkLst>
            <pc:docMk/>
            <pc:sldMk cId="1556113198" sldId="2147327812"/>
            <ac:spMk id="20" creationId="{1EC300F9-CACB-67AC-2FE6-3F7690F4000A}"/>
          </ac:spMkLst>
        </pc:spChg>
        <pc:graphicFrameChg chg="mod">
          <ac:chgData name="Wendy Franks" userId="9d89d07878554eae" providerId="LiveId" clId="{1EC1EEA1-F3F4-4525-902C-F5BE0E262B15}" dt="2023-10-13T22:59:12.890" v="667" actId="1037"/>
          <ac:graphicFrameMkLst>
            <pc:docMk/>
            <pc:sldMk cId="1556113198" sldId="2147327812"/>
            <ac:graphicFrameMk id="5" creationId="{CE31AD4B-F58F-028D-FC97-B0446714C41F}"/>
          </ac:graphicFrameMkLst>
        </pc:graphicFrameChg>
      </pc:sldChg>
      <pc:sldChg chg="modSp mod">
        <pc:chgData name="Wendy Franks" userId="9d89d07878554eae" providerId="LiveId" clId="{1EC1EEA1-F3F4-4525-902C-F5BE0E262B15}" dt="2023-10-13T23:09:54.938" v="1380" actId="113"/>
        <pc:sldMkLst>
          <pc:docMk/>
          <pc:sldMk cId="2220278016" sldId="2147327814"/>
        </pc:sldMkLst>
        <pc:spChg chg="mod">
          <ac:chgData name="Wendy Franks" userId="9d89d07878554eae" providerId="LiveId" clId="{1EC1EEA1-F3F4-4525-902C-F5BE0E262B15}" dt="2023-10-13T23:09:54.938" v="1380" actId="113"/>
          <ac:spMkLst>
            <pc:docMk/>
            <pc:sldMk cId="2220278016" sldId="2147327814"/>
            <ac:spMk id="3" creationId="{4ABE8655-7063-40DD-C376-0F75E04FFC09}"/>
          </ac:spMkLst>
        </pc:spChg>
      </pc:sldChg>
      <pc:sldChg chg="addSp delSp modSp mod">
        <pc:chgData name="Wendy Franks" userId="9d89d07878554eae" providerId="LiveId" clId="{1EC1EEA1-F3F4-4525-902C-F5BE0E262B15}" dt="2023-10-13T23:19:23.824" v="1554" actId="113"/>
        <pc:sldMkLst>
          <pc:docMk/>
          <pc:sldMk cId="2739860248" sldId="2147327815"/>
        </pc:sldMkLst>
        <pc:spChg chg="mod">
          <ac:chgData name="Wendy Franks" userId="9d89d07878554eae" providerId="LiveId" clId="{1EC1EEA1-F3F4-4525-902C-F5BE0E262B15}" dt="2023-10-13T23:19:16.635" v="1553" actId="1035"/>
          <ac:spMkLst>
            <pc:docMk/>
            <pc:sldMk cId="2739860248" sldId="2147327815"/>
            <ac:spMk id="2" creationId="{CDF5F0AB-A9C5-D005-3ABA-AE860808DC5C}"/>
          </ac:spMkLst>
        </pc:spChg>
        <pc:spChg chg="mod">
          <ac:chgData name="Wendy Franks" userId="9d89d07878554eae" providerId="LiveId" clId="{1EC1EEA1-F3F4-4525-902C-F5BE0E262B15}" dt="2023-10-13T23:19:23.824" v="1554" actId="113"/>
          <ac:spMkLst>
            <pc:docMk/>
            <pc:sldMk cId="2739860248" sldId="2147327815"/>
            <ac:spMk id="3" creationId="{018235DC-1B33-E94D-9967-15E75F594FF5}"/>
          </ac:spMkLst>
        </pc:spChg>
        <pc:spChg chg="add del mod">
          <ac:chgData name="Wendy Franks" userId="9d89d07878554eae" providerId="LiveId" clId="{1EC1EEA1-F3F4-4525-902C-F5BE0E262B15}" dt="2023-10-13T23:15:59.041" v="1383" actId="478"/>
          <ac:spMkLst>
            <pc:docMk/>
            <pc:sldMk cId="2739860248" sldId="2147327815"/>
            <ac:spMk id="4" creationId="{812F6ABF-6FF4-2480-AFEC-F09C609BD33D}"/>
          </ac:spMkLst>
        </pc:spChg>
      </pc:sldChg>
      <pc:sldMasterChg chg="delSp mod">
        <pc:chgData name="Wendy Franks" userId="9d89d07878554eae" providerId="LiveId" clId="{1EC1EEA1-F3F4-4525-902C-F5BE0E262B15}" dt="2023-10-13T22:49:08.214" v="81" actId="478"/>
        <pc:sldMasterMkLst>
          <pc:docMk/>
          <pc:sldMasterMk cId="1841318244" sldId="2147483667"/>
        </pc:sldMasterMkLst>
        <pc:spChg chg="del">
          <ac:chgData name="Wendy Franks" userId="9d89d07878554eae" providerId="LiveId" clId="{1EC1EEA1-F3F4-4525-902C-F5BE0E262B15}" dt="2023-10-13T22:49:08.214" v="81" actId="478"/>
          <ac:spMkLst>
            <pc:docMk/>
            <pc:sldMasterMk cId="1841318244" sldId="2147483667"/>
            <ac:spMk id="10" creationId="{A0442611-CF7D-8078-7C04-CC052F198193}"/>
          </ac:spMkLst>
        </pc:sp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oleObject" Target="../embeddings/oleObject1.bin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../embeddings/oleObject2.bin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bar"/>
        <c:grouping val="stacked"/>
        <c:varyColors val="0"/>
        <c:ser>
          <c:idx val="12"/>
          <c:order val="0"/>
          <c:tx>
            <c:v>Renewables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cat>
            <c:strRef>
              <c:f>'[G7 Generation Mix.xlsx]Sheet2 (2)'!$B$3:$B$9</c:f>
              <c:strCache>
                <c:ptCount val="7"/>
                <c:pt idx="0">
                  <c:v>United States</c:v>
                </c:pt>
                <c:pt idx="1">
                  <c:v>Japan</c:v>
                </c:pt>
                <c:pt idx="2">
                  <c:v>France</c:v>
                </c:pt>
                <c:pt idx="3">
                  <c:v>United Kingdom</c:v>
                </c:pt>
                <c:pt idx="4">
                  <c:v>Italy</c:v>
                </c:pt>
                <c:pt idx="5">
                  <c:v>Germany</c:v>
                </c:pt>
                <c:pt idx="6">
                  <c:v>Canada</c:v>
                </c:pt>
              </c:strCache>
            </c:strRef>
          </c:cat>
          <c:val>
            <c:numRef>
              <c:f>'[G7 Generation Mix.xlsx]Sheet2 (2)'!$M$3:$M$9</c:f>
              <c:numCache>
                <c:formatCode>0%</c:formatCode>
                <c:ptCount val="7"/>
                <c:pt idx="0">
                  <c:v>0.19719855566770594</c:v>
                </c:pt>
                <c:pt idx="1">
                  <c:v>0.20904100744462759</c:v>
                </c:pt>
                <c:pt idx="2">
                  <c:v>0.2181617069308775</c:v>
                </c:pt>
                <c:pt idx="3">
                  <c:v>0.39567710499172964</c:v>
                </c:pt>
                <c:pt idx="4">
                  <c:v>0.40107918750176569</c:v>
                </c:pt>
                <c:pt idx="5">
                  <c:v>0.41472666584355777</c:v>
                </c:pt>
                <c:pt idx="6">
                  <c:v>0.684742488771408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639-43AD-97D6-7CCC1168425D}"/>
            </c:ext>
          </c:extLst>
        </c:ser>
        <c:ser>
          <c:idx val="4"/>
          <c:order val="5"/>
          <c:tx>
            <c:v>Nuclear</c:v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[G7 Generation Mix.xlsx]Sheet2 (2)'!$B$3:$B$9</c:f>
              <c:strCache>
                <c:ptCount val="7"/>
                <c:pt idx="0">
                  <c:v>United States</c:v>
                </c:pt>
                <c:pt idx="1">
                  <c:v>Japan</c:v>
                </c:pt>
                <c:pt idx="2">
                  <c:v>France</c:v>
                </c:pt>
                <c:pt idx="3">
                  <c:v>United Kingdom</c:v>
                </c:pt>
                <c:pt idx="4">
                  <c:v>Italy</c:v>
                </c:pt>
                <c:pt idx="5">
                  <c:v>Germany</c:v>
                </c:pt>
                <c:pt idx="6">
                  <c:v>Canada</c:v>
                </c:pt>
              </c:strCache>
            </c:strRef>
          </c:cat>
          <c:val>
            <c:numRef>
              <c:f>'[G7 Generation Mix.xlsx]Sheet2 (2)'!$F$3:$F$9</c:f>
              <c:numCache>
                <c:formatCode>0%</c:formatCode>
                <c:ptCount val="7"/>
                <c:pt idx="0">
                  <c:v>0.18990075340339588</c:v>
                </c:pt>
                <c:pt idx="1">
                  <c:v>6.4521185893018876E-2</c:v>
                </c:pt>
                <c:pt idx="2">
                  <c:v>0.70855070231273865</c:v>
                </c:pt>
                <c:pt idx="3">
                  <c:v>0.14892393486894634</c:v>
                </c:pt>
                <c:pt idx="4">
                  <c:v>0</c:v>
                </c:pt>
                <c:pt idx="5">
                  <c:v>0.11950481274124947</c:v>
                </c:pt>
                <c:pt idx="6">
                  <c:v>0.152143883550691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639-43AD-97D6-7CCC1168425D}"/>
            </c:ext>
          </c:extLst>
        </c:ser>
        <c:ser>
          <c:idx val="0"/>
          <c:order val="10"/>
          <c:tx>
            <c:v>Fossil Fuel</c:v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'[G7 Generation Mix.xlsx]Sheet2 (2)'!$B$3:$B$9</c:f>
              <c:strCache>
                <c:ptCount val="7"/>
                <c:pt idx="0">
                  <c:v>United States</c:v>
                </c:pt>
                <c:pt idx="1">
                  <c:v>Japan</c:v>
                </c:pt>
                <c:pt idx="2">
                  <c:v>France</c:v>
                </c:pt>
                <c:pt idx="3">
                  <c:v>United Kingdom</c:v>
                </c:pt>
                <c:pt idx="4">
                  <c:v>Italy</c:v>
                </c:pt>
                <c:pt idx="5">
                  <c:v>Germany</c:v>
                </c:pt>
                <c:pt idx="6">
                  <c:v>Canada</c:v>
                </c:pt>
              </c:strCache>
            </c:strRef>
          </c:cat>
          <c:val>
            <c:numRef>
              <c:f>'[G7 Generation Mix.xlsx]Sheet2 (2)'!$C$3:$C$9</c:f>
              <c:numCache>
                <c:formatCode>0%</c:formatCode>
                <c:ptCount val="7"/>
                <c:pt idx="0">
                  <c:v>0.6129006909288981</c:v>
                </c:pt>
                <c:pt idx="1">
                  <c:v>0.72643780666235358</c:v>
                </c:pt>
                <c:pt idx="2">
                  <c:v>7.3287590756383802E-2</c:v>
                </c:pt>
                <c:pt idx="3">
                  <c:v>0.45539896013932407</c:v>
                </c:pt>
                <c:pt idx="4">
                  <c:v>0.59892081249823437</c:v>
                </c:pt>
                <c:pt idx="5">
                  <c:v>0.4657685214151927</c:v>
                </c:pt>
                <c:pt idx="6">
                  <c:v>0.163113627677900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639-43AD-97D6-7CCC1168425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"/>
        <c:overlap val="100"/>
        <c:axId val="1236333375"/>
        <c:axId val="1013144863"/>
        <c:extLst>
          <c:ext xmlns:c15="http://schemas.microsoft.com/office/drawing/2012/chart" uri="{02D57815-91ED-43cb-92C2-25804820EDAC}">
            <c15:filteredBarSeries>
              <c15:ser>
                <c:idx val="10"/>
                <c:order val="1"/>
                <c:tx>
                  <c:v>PV</c:v>
                </c:tx>
                <c:spPr>
                  <a:solidFill>
                    <a:schemeClr val="accent6">
                      <a:lumMod val="60000"/>
                      <a:lumOff val="4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'[G7 Generation Mix.xlsx]Sheet2 (2)'!$B$3:$B$9</c15:sqref>
                        </c15:formulaRef>
                      </c:ext>
                    </c:extLst>
                    <c:strCache>
                      <c:ptCount val="7"/>
                      <c:pt idx="0">
                        <c:v>United States</c:v>
                      </c:pt>
                      <c:pt idx="1">
                        <c:v>Japan</c:v>
                      </c:pt>
                      <c:pt idx="2">
                        <c:v>France</c:v>
                      </c:pt>
                      <c:pt idx="3">
                        <c:v>United Kingdom</c:v>
                      </c:pt>
                      <c:pt idx="4">
                        <c:v>Italy</c:v>
                      </c:pt>
                      <c:pt idx="5">
                        <c:v>Germany</c:v>
                      </c:pt>
                      <c:pt idx="6">
                        <c:v>Canada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[G7 Generation Mix.xlsx]Sheet2 (2)'!$K$3:$K$9</c15:sqref>
                        </c15:formulaRef>
                      </c:ext>
                    </c:extLst>
                    <c:numCache>
                      <c:formatCode>General</c:formatCode>
                      <c:ptCount val="7"/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4639-43AD-97D6-7CCC1168425D}"/>
                  </c:ext>
                </c:extLst>
              </c15:ser>
            </c15:filteredBarSeries>
            <c15:filteredBarSeries>
              <c15:ser>
                <c:idx val="8"/>
                <c:order val="2"/>
                <c:tx>
                  <c:v>Hydro</c:v>
                </c:tx>
                <c:spPr>
                  <a:solidFill>
                    <a:srgbClr val="6AA343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B$3:$B$9</c15:sqref>
                        </c15:formulaRef>
                      </c:ext>
                    </c:extLst>
                    <c:strCache>
                      <c:ptCount val="7"/>
                      <c:pt idx="0">
                        <c:v>United States</c:v>
                      </c:pt>
                      <c:pt idx="1">
                        <c:v>Japan</c:v>
                      </c:pt>
                      <c:pt idx="2">
                        <c:v>France</c:v>
                      </c:pt>
                      <c:pt idx="3">
                        <c:v>United Kingdom</c:v>
                      </c:pt>
                      <c:pt idx="4">
                        <c:v>Italy</c:v>
                      </c:pt>
                      <c:pt idx="5">
                        <c:v>Germany</c:v>
                      </c:pt>
                      <c:pt idx="6">
                        <c:v>Canad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I$3:$I$9</c15:sqref>
                        </c15:formulaRef>
                      </c:ext>
                    </c:extLst>
                    <c:numCache>
                      <c:formatCode>General</c:formatCode>
                      <c:ptCount val="7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4-4639-43AD-97D6-7CCC1168425D}"/>
                  </c:ext>
                </c:extLst>
              </c15:ser>
            </c15:filteredBarSeries>
            <c15:filteredBarSeries>
              <c15:ser>
                <c:idx val="7"/>
                <c:order val="3"/>
                <c:tx>
                  <c:v>Geothermal</c:v>
                </c:tx>
                <c:spPr>
                  <a:solidFill>
                    <a:schemeClr val="accent6">
                      <a:lumMod val="40000"/>
                      <a:lumOff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B$3:$B$9</c15:sqref>
                        </c15:formulaRef>
                      </c:ext>
                    </c:extLst>
                    <c:strCache>
                      <c:ptCount val="7"/>
                      <c:pt idx="0">
                        <c:v>United States</c:v>
                      </c:pt>
                      <c:pt idx="1">
                        <c:v>Japan</c:v>
                      </c:pt>
                      <c:pt idx="2">
                        <c:v>France</c:v>
                      </c:pt>
                      <c:pt idx="3">
                        <c:v>United Kingdom</c:v>
                      </c:pt>
                      <c:pt idx="4">
                        <c:v>Italy</c:v>
                      </c:pt>
                      <c:pt idx="5">
                        <c:v>Germany</c:v>
                      </c:pt>
                      <c:pt idx="6">
                        <c:v>Canad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H$3:$H$9</c15:sqref>
                        </c15:formulaRef>
                      </c:ext>
                    </c:extLst>
                    <c:numCache>
                      <c:formatCode>General</c:formatCode>
                      <c:ptCount val="7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5-4639-43AD-97D6-7CCC1168425D}"/>
                  </c:ext>
                </c:extLst>
              </c15:ser>
            </c15:filteredBarSeries>
            <c15:filteredBarSeries>
              <c15:ser>
                <c:idx val="6"/>
                <c:order val="4"/>
                <c:tx>
                  <c:v>Biomass</c:v>
                </c:tx>
                <c:spPr>
                  <a:solidFill>
                    <a:srgbClr val="92D050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B$3:$B$9</c15:sqref>
                        </c15:formulaRef>
                      </c:ext>
                    </c:extLst>
                    <c:strCache>
                      <c:ptCount val="7"/>
                      <c:pt idx="0">
                        <c:v>United States</c:v>
                      </c:pt>
                      <c:pt idx="1">
                        <c:v>Japan</c:v>
                      </c:pt>
                      <c:pt idx="2">
                        <c:v>France</c:v>
                      </c:pt>
                      <c:pt idx="3">
                        <c:v>United Kingdom</c:v>
                      </c:pt>
                      <c:pt idx="4">
                        <c:v>Italy</c:v>
                      </c:pt>
                      <c:pt idx="5">
                        <c:v>Germany</c:v>
                      </c:pt>
                      <c:pt idx="6">
                        <c:v>Canad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G$3:$G$9</c15:sqref>
                        </c15:formulaRef>
                      </c:ext>
                    </c:extLst>
                    <c:numCache>
                      <c:formatCode>General</c:formatCode>
                      <c:ptCount val="7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6-4639-43AD-97D6-7CCC1168425D}"/>
                  </c:ext>
                </c:extLst>
              </c15:ser>
            </c15:filteredBarSeries>
            <c15:filteredBarSeries>
              <c15:ser>
                <c:idx val="9"/>
                <c:order val="6"/>
                <c:spPr>
                  <a:solidFill>
                    <a:schemeClr val="accent4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B$3:$B$9</c15:sqref>
                        </c15:formulaRef>
                      </c:ext>
                    </c:extLst>
                    <c:strCache>
                      <c:ptCount val="7"/>
                      <c:pt idx="0">
                        <c:v>United States</c:v>
                      </c:pt>
                      <c:pt idx="1">
                        <c:v>Japan</c:v>
                      </c:pt>
                      <c:pt idx="2">
                        <c:v>France</c:v>
                      </c:pt>
                      <c:pt idx="3">
                        <c:v>United Kingdom</c:v>
                      </c:pt>
                      <c:pt idx="4">
                        <c:v>Italy</c:v>
                      </c:pt>
                      <c:pt idx="5">
                        <c:v>Germany</c:v>
                      </c:pt>
                      <c:pt idx="6">
                        <c:v>Canad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J$3:$J$9</c15:sqref>
                        </c15:formulaRef>
                      </c:ext>
                    </c:extLst>
                    <c:numCache>
                      <c:formatCode>General</c:formatCode>
                      <c:ptCount val="7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7-4639-43AD-97D6-7CCC1168425D}"/>
                  </c:ext>
                </c:extLst>
              </c15:ser>
            </c15:filteredBarSeries>
            <c15:filteredBarSeries>
              <c15:ser>
                <c:idx val="11"/>
                <c:order val="7"/>
                <c:spPr>
                  <a:solidFill>
                    <a:schemeClr val="accent6">
                      <a:lumMod val="6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B$3:$B$9</c15:sqref>
                        </c15:formulaRef>
                      </c:ext>
                    </c:extLst>
                    <c:strCache>
                      <c:ptCount val="7"/>
                      <c:pt idx="0">
                        <c:v>United States</c:v>
                      </c:pt>
                      <c:pt idx="1">
                        <c:v>Japan</c:v>
                      </c:pt>
                      <c:pt idx="2">
                        <c:v>France</c:v>
                      </c:pt>
                      <c:pt idx="3">
                        <c:v>United Kingdom</c:v>
                      </c:pt>
                      <c:pt idx="4">
                        <c:v>Italy</c:v>
                      </c:pt>
                      <c:pt idx="5">
                        <c:v>Germany</c:v>
                      </c:pt>
                      <c:pt idx="6">
                        <c:v>Canad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L$3:$L$9</c15:sqref>
                        </c15:formulaRef>
                      </c:ext>
                    </c:extLst>
                    <c:numCache>
                      <c:formatCode>General</c:formatCode>
                      <c:ptCount val="7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8-4639-43AD-97D6-7CCC1168425D}"/>
                  </c:ext>
                </c:extLst>
              </c15:ser>
            </c15:filteredBarSeries>
            <c15:filteredBarSeries>
              <c15:ser>
                <c:idx val="3"/>
                <c:order val="8"/>
                <c:tx>
                  <c:v>Other Fossil Fuel</c:v>
                </c:tx>
                <c:spPr>
                  <a:solidFill>
                    <a:schemeClr val="bg1">
                      <a:lumMod val="85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B$3:$B$9</c15:sqref>
                        </c15:formulaRef>
                      </c:ext>
                    </c:extLst>
                    <c:strCache>
                      <c:ptCount val="7"/>
                      <c:pt idx="0">
                        <c:v>United States</c:v>
                      </c:pt>
                      <c:pt idx="1">
                        <c:v>Japan</c:v>
                      </c:pt>
                      <c:pt idx="2">
                        <c:v>France</c:v>
                      </c:pt>
                      <c:pt idx="3">
                        <c:v>United Kingdom</c:v>
                      </c:pt>
                      <c:pt idx="4">
                        <c:v>Italy</c:v>
                      </c:pt>
                      <c:pt idx="5">
                        <c:v>Germany</c:v>
                      </c:pt>
                      <c:pt idx="6">
                        <c:v>Canad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E$3:$E$9</c15:sqref>
                        </c15:formulaRef>
                      </c:ext>
                    </c:extLst>
                    <c:numCache>
                      <c:formatCode>General</c:formatCode>
                      <c:ptCount val="7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9-4639-43AD-97D6-7CCC1168425D}"/>
                  </c:ext>
                </c:extLst>
              </c15:ser>
            </c15:filteredBarSeries>
            <c15:filteredBarSeries>
              <c15:ser>
                <c:idx val="1"/>
                <c:order val="9"/>
                <c:tx>
                  <c:v>Gas</c:v>
                </c:tx>
                <c:spPr>
                  <a:solidFill>
                    <a:schemeClr val="bg1">
                      <a:lumMod val="65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B$3:$B$9</c15:sqref>
                        </c15:formulaRef>
                      </c:ext>
                    </c:extLst>
                    <c:strCache>
                      <c:ptCount val="7"/>
                      <c:pt idx="0">
                        <c:v>United States</c:v>
                      </c:pt>
                      <c:pt idx="1">
                        <c:v>Japan</c:v>
                      </c:pt>
                      <c:pt idx="2">
                        <c:v>France</c:v>
                      </c:pt>
                      <c:pt idx="3">
                        <c:v>United Kingdom</c:v>
                      </c:pt>
                      <c:pt idx="4">
                        <c:v>Italy</c:v>
                      </c:pt>
                      <c:pt idx="5">
                        <c:v>Germany</c:v>
                      </c:pt>
                      <c:pt idx="6">
                        <c:v>Canada</c:v>
                      </c:pt>
                    </c:strCache>
                  </c:strRef>
                </c:cat>
                <c:val>
                  <c:numRef>
                    <c:extLst xmlns:c15="http://schemas.microsoft.com/office/drawing/2012/chart">
                      <c:ext xmlns:c15="http://schemas.microsoft.com/office/drawing/2012/chart" uri="{02D57815-91ED-43cb-92C2-25804820EDAC}">
                        <c15:formulaRef>
                          <c15:sqref>'[G7 Generation Mix.xlsx]Sheet2 (2)'!$D$3:$D$9</c15:sqref>
                        </c15:formulaRef>
                      </c:ext>
                    </c:extLst>
                    <c:numCache>
                      <c:formatCode>General</c:formatCode>
                      <c:ptCount val="7"/>
                    </c:numCache>
                  </c:numRef>
                </c:val>
                <c:extLst xmlns:c15="http://schemas.microsoft.com/office/drawing/2012/chart">
                  <c:ext xmlns:c16="http://schemas.microsoft.com/office/drawing/2014/chart" uri="{C3380CC4-5D6E-409C-BE32-E72D297353CC}">
                    <c16:uniqueId val="{0000000A-4639-43AD-97D6-7CCC1168425D}"/>
                  </c:ext>
                </c:extLst>
              </c15:ser>
            </c15:filteredBarSeries>
          </c:ext>
        </c:extLst>
      </c:barChart>
      <c:catAx>
        <c:axId val="1236333375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13144863"/>
        <c:crosses val="autoZero"/>
        <c:auto val="1"/>
        <c:lblAlgn val="ctr"/>
        <c:lblOffset val="100"/>
        <c:noMultiLvlLbl val="0"/>
      </c:catAx>
      <c:valAx>
        <c:axId val="1013144863"/>
        <c:scaling>
          <c:orientation val="minMax"/>
          <c:max val="1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0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3633337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3004861505713849"/>
          <c:y val="0.86053076698745989"/>
          <c:w val="0.78572178477690291"/>
          <c:h val="0.1348396033829104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0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000"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'[BNEF Investment Canada.xlsx]BNEF Investment Canada (2)'!$A$15</c:f>
              <c:strCache>
                <c:ptCount val="1"/>
                <c:pt idx="0">
                  <c:v>Renewable energ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'[BNEF Investment Canada.xlsx]BNEF Investment Canada (2)'!$B$14:$T$14</c:f>
              <c:numCache>
                <c:formatCode>General</c:formatCod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2</c:v>
                </c:pt>
              </c:numCache>
              <c:extLst/>
            </c:numRef>
          </c:cat>
          <c:val>
            <c:numRef>
              <c:f>'[BNEF Investment Canada.xlsx]BNEF Investment Canada (2)'!$B$15:$T$15</c:f>
              <c:numCache>
                <c:formatCode>General</c:formatCode>
                <c:ptCount val="5"/>
                <c:pt idx="0">
                  <c:v>2.0030250992366421</c:v>
                </c:pt>
                <c:pt idx="1">
                  <c:v>6.3212350534351174</c:v>
                </c:pt>
                <c:pt idx="2">
                  <c:v>4.6303697099236665</c:v>
                </c:pt>
                <c:pt idx="3">
                  <c:v>8.0381137099236675</c:v>
                </c:pt>
                <c:pt idx="4">
                  <c:v>18.118272488549628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A620-41F1-A7F5-DA37AF3534D9}"/>
            </c:ext>
          </c:extLst>
        </c:ser>
        <c:ser>
          <c:idx val="1"/>
          <c:order val="1"/>
          <c:tx>
            <c:strRef>
              <c:f>'[BNEF Investment Canada.xlsx]BNEF Investment Canada (2)'!$A$16</c:f>
              <c:strCache>
                <c:ptCount val="1"/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'[BNEF Investment Canada.xlsx]BNEF Investment Canada (2)'!$B$14:$T$14</c:f>
              <c:numCache>
                <c:formatCode>General</c:formatCod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2</c:v>
                </c:pt>
              </c:numCache>
              <c:extLst/>
            </c:numRef>
          </c:cat>
          <c:val>
            <c:numRef>
              <c:f>'[BNEF Investment Canada.xlsx]BNEF Investment Canada (2)'!$B$16:$T$16</c:f>
              <c:numCache>
                <c:formatCode>General</c:formatCode>
                <c:ptCount val="5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1-A620-41F1-A7F5-DA37AF3534D9}"/>
            </c:ext>
          </c:extLst>
        </c:ser>
        <c:ser>
          <c:idx val="2"/>
          <c:order val="2"/>
          <c:tx>
            <c:strRef>
              <c:f>'[BNEF Investment Canada.xlsx]BNEF Investment Canada (2)'!$A$17</c:f>
              <c:strCache>
                <c:ptCount val="1"/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numRef>
              <c:f>'[BNEF Investment Canada.xlsx]BNEF Investment Canada (2)'!$B$14:$T$14</c:f>
              <c:numCache>
                <c:formatCode>General</c:formatCod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2</c:v>
                </c:pt>
              </c:numCache>
              <c:extLst/>
            </c:numRef>
          </c:cat>
          <c:val>
            <c:numRef>
              <c:f>'[BNEF Investment Canada.xlsx]BNEF Investment Canada (2)'!$B$17:$T$17</c:f>
              <c:numCache>
                <c:formatCode>General</c:formatCode>
                <c:ptCount val="5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2-A620-41F1-A7F5-DA37AF3534D9}"/>
            </c:ext>
          </c:extLst>
        </c:ser>
        <c:ser>
          <c:idx val="3"/>
          <c:order val="3"/>
          <c:tx>
            <c:strRef>
              <c:f>'[BNEF Investment Canada.xlsx]BNEF Investment Canada (2)'!$A$18</c:f>
              <c:strCache>
                <c:ptCount val="1"/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numRef>
              <c:f>'[BNEF Investment Canada.xlsx]BNEF Investment Canada (2)'!$B$14:$T$14</c:f>
              <c:numCache>
                <c:formatCode>General</c:formatCod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2</c:v>
                </c:pt>
              </c:numCache>
              <c:extLst/>
            </c:numRef>
          </c:cat>
          <c:val>
            <c:numRef>
              <c:f>'[BNEF Investment Canada.xlsx]BNEF Investment Canada (2)'!$B$18:$T$18</c:f>
              <c:numCache>
                <c:formatCode>General</c:formatCode>
                <c:ptCount val="5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3-A620-41F1-A7F5-DA37AF3534D9}"/>
            </c:ext>
          </c:extLst>
        </c:ser>
        <c:ser>
          <c:idx val="4"/>
          <c:order val="4"/>
          <c:tx>
            <c:strRef>
              <c:f>'[BNEF Investment Canada.xlsx]BNEF Investment Canada (2)'!$A$19</c:f>
              <c:strCache>
                <c:ptCount val="1"/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numRef>
              <c:f>'[BNEF Investment Canada.xlsx]BNEF Investment Canada (2)'!$B$14:$T$14</c:f>
              <c:numCache>
                <c:formatCode>General</c:formatCod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2</c:v>
                </c:pt>
              </c:numCache>
              <c:extLst/>
            </c:numRef>
          </c:cat>
          <c:val>
            <c:numRef>
              <c:f>'[BNEF Investment Canada.xlsx]BNEF Investment Canada (2)'!$B$19:$T$19</c:f>
              <c:numCache>
                <c:formatCode>General</c:formatCode>
                <c:ptCount val="5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4-A620-41F1-A7F5-DA37AF3534D9}"/>
            </c:ext>
          </c:extLst>
        </c:ser>
        <c:ser>
          <c:idx val="5"/>
          <c:order val="5"/>
          <c:tx>
            <c:strRef>
              <c:f>'[BNEF Investment Canada.xlsx]BNEF Investment Canada (2)'!$A$20</c:f>
              <c:strCache>
                <c:ptCount val="1"/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numRef>
              <c:f>'[BNEF Investment Canada.xlsx]BNEF Investment Canada (2)'!$B$14:$T$14</c:f>
              <c:numCache>
                <c:formatCode>General</c:formatCod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2</c:v>
                </c:pt>
              </c:numCache>
              <c:extLst/>
            </c:numRef>
          </c:cat>
          <c:val>
            <c:numRef>
              <c:f>'[BNEF Investment Canada.xlsx]BNEF Investment Canada (2)'!$B$20:$T$20</c:f>
              <c:numCache>
                <c:formatCode>General</c:formatCode>
                <c:ptCount val="5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5-A620-41F1-A7F5-DA37AF3534D9}"/>
            </c:ext>
          </c:extLst>
        </c:ser>
        <c:ser>
          <c:idx val="6"/>
          <c:order val="6"/>
          <c:tx>
            <c:strRef>
              <c:f>'[BNEF Investment Canada.xlsx]BNEF Investment Canada (2)'!$A$21</c:f>
              <c:strCache>
                <c:ptCount val="1"/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numRef>
              <c:f>'[BNEF Investment Canada.xlsx]BNEF Investment Canada (2)'!$B$14:$T$14</c:f>
              <c:numCache>
                <c:formatCode>General</c:formatCode>
                <c:ptCount val="5"/>
                <c:pt idx="0">
                  <c:v>2005</c:v>
                </c:pt>
                <c:pt idx="1">
                  <c:v>2010</c:v>
                </c:pt>
                <c:pt idx="2">
                  <c:v>2015</c:v>
                </c:pt>
                <c:pt idx="3">
                  <c:v>2020</c:v>
                </c:pt>
                <c:pt idx="4">
                  <c:v>2022</c:v>
                </c:pt>
              </c:numCache>
              <c:extLst/>
            </c:numRef>
          </c:cat>
          <c:val>
            <c:numRef>
              <c:f>'[BNEF Investment Canada.xlsx]BNEF Investment Canada (2)'!$B$21:$T$21</c:f>
              <c:numCache>
                <c:formatCode>General</c:formatCode>
                <c:ptCount val="5"/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6-A620-41F1-A7F5-DA37AF3534D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489753087"/>
        <c:axId val="1489599279"/>
      </c:barChart>
      <c:catAx>
        <c:axId val="1489753087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9599279"/>
        <c:crosses val="autoZero"/>
        <c:auto val="1"/>
        <c:lblAlgn val="ctr"/>
        <c:lblOffset val="100"/>
        <c:noMultiLvlLbl val="0"/>
      </c:catAx>
      <c:valAx>
        <c:axId val="14895992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8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CA" baseline="0" dirty="0">
                    <a:solidFill>
                      <a:schemeClr val="tx1"/>
                    </a:solidFill>
                  </a:rPr>
                  <a:t>$CAD Billions</a:t>
                </a:r>
              </a:p>
            </c:rich>
          </c:tx>
          <c:layout>
            <c:manualLayout>
              <c:xMode val="edge"/>
              <c:yMode val="edge"/>
              <c:x val="7.6524056421729096E-3"/>
              <c:y val="0.306949010014524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8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4897530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800"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926F7D2F-2ED4-465D-AF39-CD6CB9605CD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64241" y="151773"/>
            <a:ext cx="1352684" cy="334419"/>
          </a:xfrm>
          <a:prstGeom prst="rect">
            <a:avLst/>
          </a:prstGeom>
        </p:spPr>
      </p:pic>
      <p:sp>
        <p:nvSpPr>
          <p:cNvPr id="7" name="Header Placeholder 1">
            <a:extLst>
              <a:ext uri="{FF2B5EF4-FFF2-40B4-BE49-F238E27FC236}">
                <a16:creationId xmlns:a16="http://schemas.microsoft.com/office/drawing/2014/main" id="{F1995253-A573-4006-ADCC-48BBC6B67F4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5015620" cy="262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CA"/>
          </a:p>
        </p:txBody>
      </p:sp>
      <p:sp>
        <p:nvSpPr>
          <p:cNvPr id="8" name="Date Placeholder 2">
            <a:extLst>
              <a:ext uri="{FF2B5EF4-FFF2-40B4-BE49-F238E27FC236}">
                <a16:creationId xmlns:a16="http://schemas.microsoft.com/office/drawing/2014/main" id="{D69AE863-04D5-4B23-9608-613ABC70DD28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0" y="8888357"/>
            <a:ext cx="1819746" cy="262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B659FA8-5F90-439D-8507-B6A6AC7178AF}" type="datetimeFigureOut">
              <a:rPr lang="en-CA"/>
              <a:pPr/>
              <a:t>2023-10-13</a:t>
            </a:fld>
            <a:endParaRPr lang="en-CA"/>
          </a:p>
        </p:txBody>
      </p:sp>
      <p:sp>
        <p:nvSpPr>
          <p:cNvPr id="9" name="Footer Placeholder 5">
            <a:extLst>
              <a:ext uri="{FF2B5EF4-FFF2-40B4-BE49-F238E27FC236}">
                <a16:creationId xmlns:a16="http://schemas.microsoft.com/office/drawing/2014/main" id="{AAC3CD07-F07B-43EC-A585-18B36A78D6F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819747" y="8888357"/>
            <a:ext cx="4571999" cy="26254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CA"/>
          </a:p>
        </p:txBody>
      </p:sp>
      <p:sp>
        <p:nvSpPr>
          <p:cNvPr id="10" name="Slide Number Placeholder 6">
            <a:extLst>
              <a:ext uri="{FF2B5EF4-FFF2-40B4-BE49-F238E27FC236}">
                <a16:creationId xmlns:a16="http://schemas.microsoft.com/office/drawing/2014/main" id="{BCE4EA24-E96A-414A-B760-30824F0C24E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6391747" y="8888357"/>
            <a:ext cx="464666" cy="26254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7B15F8D1-B6DE-4739-91C4-67096E8A9056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880927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5015620" cy="262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endParaRPr lang="en-CA" noProof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0" y="8888357"/>
            <a:ext cx="1819746" cy="2625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CB659FA8-5F90-439D-8507-B6A6AC7178AF}" type="datetimeFigureOut">
              <a:rPr lang="en-CA" noProof="0"/>
              <a:pPr/>
              <a:t>2023-10-13</a:t>
            </a:fld>
            <a:endParaRPr lang="en-CA" noProof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702122"/>
            <a:ext cx="3198813" cy="1799332"/>
          </a:xfrm>
          <a:prstGeom prst="rect">
            <a:avLst/>
          </a:prstGeom>
          <a:noFill/>
          <a:ln w="3175">
            <a:solidFill>
              <a:schemeClr val="tx2"/>
            </a:solidFill>
          </a:ln>
        </p:spPr>
        <p:txBody>
          <a:bodyPr vert="horz" lIns="91440" tIns="45720" rIns="91440" bIns="45720" rtlCol="0" anchor="ctr"/>
          <a:lstStyle/>
          <a:p>
            <a:endParaRPr lang="en-CA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2580237"/>
            <a:ext cx="5486400" cy="621067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CA" noProof="0"/>
              <a:t>Click to edit Master text styles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819747" y="8888357"/>
            <a:ext cx="4571999" cy="26254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CA" noProof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6391747" y="8888357"/>
            <a:ext cx="464666" cy="26254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7B15F8D1-B6DE-4739-91C4-67096E8A9056}" type="slidenum">
              <a:rPr lang="en-CA" noProof="0"/>
              <a:pPr/>
              <a:t>‹#›</a:t>
            </a:fld>
            <a:endParaRPr lang="en-CA" noProof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2568F241-DCE4-4A02-A8A8-76F08427A8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264241" y="151773"/>
            <a:ext cx="1352684" cy="3344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10606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701675"/>
            <a:ext cx="3198813" cy="1800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15F8D1-B6DE-4739-91C4-67096E8A9056}" type="slidenum">
              <a:rPr lang="en-CA" noProof="0" smtClean="0"/>
              <a:pPr/>
              <a:t>2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28300359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701675"/>
            <a:ext cx="3198813" cy="1800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S&amp;P credit ratings provide a forward-looking guidance on an entity’s creditworthiness.</a:t>
            </a:r>
          </a:p>
          <a:p>
            <a:r>
              <a:rPr lang="en-CA" dirty="0"/>
              <a:t>Canada has the best S&amp;P credit rating in the G7 (tied with Germany).</a:t>
            </a:r>
          </a:p>
          <a:p>
            <a:r>
              <a:rPr lang="en-CA" dirty="0"/>
              <a:t>S&amp;P Global IHS Risk Rankings help gauge country risk via a risk scoring methodology covering various political, economic, legal, operational, tax, and security considerations.</a:t>
            </a:r>
          </a:p>
          <a:p>
            <a:r>
              <a:rPr lang="en-CA" dirty="0"/>
              <a:t>Canada has the second lowest IHS Risk Rating in the G7 behind Japan.</a:t>
            </a:r>
          </a:p>
          <a:p>
            <a:endParaRPr lang="en-CA" dirty="0"/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15F8D1-B6DE-4739-91C4-67096E8A9056}" type="slidenum">
              <a:rPr lang="en-CA" noProof="0" smtClean="0"/>
              <a:pPr/>
              <a:t>3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17887311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701675"/>
            <a:ext cx="3198813" cy="1800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Initially, Canadian capital for decarbonization focused on renewable energy development.</a:t>
            </a:r>
          </a:p>
          <a:p>
            <a:r>
              <a:rPr lang="en-CA" dirty="0"/>
              <a:t>In recent years, more capital has been allocated to other facets of the energy transition, such as electrified transport and heat.</a:t>
            </a:r>
          </a:p>
          <a:p>
            <a:r>
              <a:rPr lang="en-CA" dirty="0"/>
              <a:t>Significantly more investment is required to meet decarbonization ambitions by 2050:</a:t>
            </a:r>
          </a:p>
          <a:p>
            <a:pPr lvl="1"/>
            <a:r>
              <a:rPr lang="en-CA" dirty="0"/>
              <a:t>- Canada’s 2022 budget estimates that $125-140 billion of annual investment is required</a:t>
            </a:r>
          </a:p>
          <a:p>
            <a:pPr lvl="1"/>
            <a:r>
              <a:rPr lang="en-CA" dirty="0"/>
              <a:t>- The IEA estimates that global investment needs to triple by 2030 to achieve net zero</a:t>
            </a: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15F8D1-B6DE-4739-91C4-67096E8A9056}" type="slidenum">
              <a:rPr lang="en-CA" noProof="0" smtClean="0"/>
              <a:pPr/>
              <a:t>4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72718843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701675"/>
            <a:ext cx="3198813" cy="1800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5DA71FE-A5B3-4DDA-84F3-27FC7ABFC677}" type="slidenum">
              <a:rPr lang="en-CA" smtClean="0"/>
              <a:t>5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928042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701675"/>
            <a:ext cx="3198813" cy="1800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CDS spreads quantify the market risk of insuring a country’s sovereign debt, with implications to the cost of financing in that country.</a:t>
            </a:r>
          </a:p>
          <a:p>
            <a:r>
              <a:rPr lang="en-CA" dirty="0"/>
              <a:t>Canada’s CDS spreads are competitive within the developed world, a subset of countries which already represents the lowest risk globally.</a:t>
            </a: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15F8D1-B6DE-4739-91C4-67096E8A9056}" type="slidenum">
              <a:rPr lang="en-CA" noProof="0" smtClean="0"/>
              <a:pPr/>
              <a:t>6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109625146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701675"/>
            <a:ext cx="3198813" cy="18002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CA" dirty="0"/>
              <a:t>CDS spreads quantify the market risk of insuring a country’s sovereign debt, with implications to the cost of financing in that country.</a:t>
            </a:r>
          </a:p>
          <a:p>
            <a:r>
              <a:rPr lang="en-CA" dirty="0"/>
              <a:t>Canada’s CDS spreads are competitive within the developed world, a subset of countries which already represents the lowest risk globally.</a:t>
            </a:r>
          </a:p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B15F8D1-B6DE-4739-91C4-67096E8A9056}" type="slidenum">
              <a:rPr lang="en-CA" noProof="0" smtClean="0"/>
              <a:pPr/>
              <a:t>7</a:t>
            </a:fld>
            <a:endParaRPr lang="en-CA" noProof="0"/>
          </a:p>
        </p:txBody>
      </p:sp>
    </p:spTree>
    <p:extLst>
      <p:ext uri="{BB962C8B-B14F-4D97-AF65-F5344CB8AC3E}">
        <p14:creationId xmlns:p14="http://schemas.microsoft.com/office/powerpoint/2010/main" val="3647800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A612B1-ABFE-4C8B-BD2A-FD15531223C5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04467" y="1931158"/>
            <a:ext cx="10360960" cy="2631317"/>
          </a:xfrm>
        </p:spPr>
        <p:txBody>
          <a:bodyPr anchor="b"/>
          <a:lstStyle>
            <a:lvl1pPr algn="l">
              <a:defRPr sz="4800"/>
            </a:lvl1pPr>
          </a:lstStyle>
          <a:p>
            <a:r>
              <a:rPr lang="en-CA" noProof="0" dirty="0"/>
              <a:t>[Title]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6F589BE-D6EE-4BA1-B728-5CC3101480B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04467" y="4750904"/>
            <a:ext cx="10360960" cy="1338746"/>
          </a:xfrm>
        </p:spPr>
        <p:txBody>
          <a:bodyPr lIns="91440"/>
          <a:lstStyle>
            <a:lvl1pPr marL="0" indent="0" algn="l">
              <a:buNone/>
              <a:defRPr sz="2400">
                <a:solidFill>
                  <a:schemeClr val="accent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en-CA" noProof="0" dirty="0"/>
              <a:t>[Add subtitle – or remove if not needed]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F689CC4D-6893-422C-BF48-C43315B06F06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" name="LogoProtection" hidden="1">
            <a:extLst>
              <a:ext uri="{FF2B5EF4-FFF2-40B4-BE49-F238E27FC236}">
                <a16:creationId xmlns:a16="http://schemas.microsoft.com/office/drawing/2014/main" id="{A120872B-1BEA-41FC-8EA1-B3A605BA57A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84960" y="203200"/>
            <a:ext cx="4898240" cy="14359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355664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Left">
            <a:extLst>
              <a:ext uri="{FF2B5EF4-FFF2-40B4-BE49-F238E27FC236}">
                <a16:creationId xmlns:a16="http://schemas.microsoft.com/office/drawing/2014/main" id="{CEAD8DD0-C4FA-48E1-8405-6F8CE989624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94063" y="2149475"/>
            <a:ext cx="2406713" cy="4343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2" name="Text Placeholder Left Middle">
            <a:extLst>
              <a:ext uri="{FF2B5EF4-FFF2-40B4-BE49-F238E27FC236}">
                <a16:creationId xmlns:a16="http://schemas.microsoft.com/office/drawing/2014/main" id="{D7A57EE7-AA32-43EE-B377-9BDDD5E4081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25207" y="2147887"/>
            <a:ext cx="2406713" cy="4343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CA" noProof="0" dirty="0"/>
              <a:t>[Click to add text]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23" name="Text Placeholder Right Middle">
            <a:extLst>
              <a:ext uri="{FF2B5EF4-FFF2-40B4-BE49-F238E27FC236}">
                <a16:creationId xmlns:a16="http://schemas.microsoft.com/office/drawing/2014/main" id="{365B8BA6-A8B8-4557-883C-FBE81C5C50F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56351" y="2147887"/>
            <a:ext cx="2406713" cy="4343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25" name="Text Placeholder Right">
            <a:extLst>
              <a:ext uri="{FF2B5EF4-FFF2-40B4-BE49-F238E27FC236}">
                <a16:creationId xmlns:a16="http://schemas.microsoft.com/office/drawing/2014/main" id="{1467B684-0488-47A8-B7D8-1E3171C340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87495" y="2147887"/>
            <a:ext cx="2406713" cy="434340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20" name="Subtitle Right Middle">
            <a:extLst>
              <a:ext uri="{FF2B5EF4-FFF2-40B4-BE49-F238E27FC236}">
                <a16:creationId xmlns:a16="http://schemas.microsoft.com/office/drawing/2014/main" id="{8B8A8831-8061-42B1-BC45-0E431167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6351" y="1379628"/>
            <a:ext cx="2406713" cy="686178"/>
          </a:xfrm>
          <a:noFill/>
        </p:spPr>
        <p:txBody>
          <a:bodyPr lIns="91440" tIns="91440" bIns="91440" anchor="t"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 dirty="0"/>
              <a:t>[Add subtitle]</a:t>
            </a:r>
          </a:p>
        </p:txBody>
      </p:sp>
      <p:sp>
        <p:nvSpPr>
          <p:cNvPr id="21" name="Subtitle  Right">
            <a:extLst>
              <a:ext uri="{FF2B5EF4-FFF2-40B4-BE49-F238E27FC236}">
                <a16:creationId xmlns:a16="http://schemas.microsoft.com/office/drawing/2014/main" id="{49F434C2-1A5B-478C-9B85-9EF04AC36C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4063" y="1371600"/>
            <a:ext cx="2404872" cy="686178"/>
          </a:xfrm>
          <a:noFill/>
        </p:spPr>
        <p:txBody>
          <a:bodyPr lIns="91440" tIns="91440" bIns="91440" anchor="t">
            <a:noAutofit/>
          </a:bodyPr>
          <a:lstStyle>
            <a:lvl1pPr marL="0" indent="0">
              <a:buNone/>
              <a:defRPr sz="2000" b="0" baseline="0">
                <a:solidFill>
                  <a:schemeClr val="tx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 dirty="0"/>
              <a:t>[Add subtitle]</a:t>
            </a:r>
          </a:p>
        </p:txBody>
      </p:sp>
      <p:sp>
        <p:nvSpPr>
          <p:cNvPr id="22" name="Subtitle Left Middle">
            <a:extLst>
              <a:ext uri="{FF2B5EF4-FFF2-40B4-BE49-F238E27FC236}">
                <a16:creationId xmlns:a16="http://schemas.microsoft.com/office/drawing/2014/main" id="{C87278CD-E54D-4290-9A9C-4FD9612410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5207" y="1379628"/>
            <a:ext cx="2406713" cy="686178"/>
          </a:xfrm>
          <a:noFill/>
        </p:spPr>
        <p:txBody>
          <a:bodyPr lIns="91440" tIns="91440" bIns="91440" anchor="t">
            <a:noAutofit/>
          </a:bodyPr>
          <a:lstStyle>
            <a:lvl1pPr marL="0" indent="0">
              <a:buNone/>
              <a:defRPr sz="2000" b="0" baseline="0">
                <a:solidFill>
                  <a:schemeClr val="tx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 dirty="0"/>
              <a:t>[Add subtitle]</a:t>
            </a:r>
          </a:p>
        </p:txBody>
      </p:sp>
      <p:sp>
        <p:nvSpPr>
          <p:cNvPr id="24" name="Subtitle Right">
            <a:extLst>
              <a:ext uri="{FF2B5EF4-FFF2-40B4-BE49-F238E27FC236}">
                <a16:creationId xmlns:a16="http://schemas.microsoft.com/office/drawing/2014/main" id="{CBAFCF0E-6830-4163-B855-69E17155780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287495" y="1379628"/>
            <a:ext cx="2406713" cy="686178"/>
          </a:xfrm>
          <a:noFill/>
        </p:spPr>
        <p:txBody>
          <a:bodyPr lIns="91440" tIns="91440" bIns="91440" anchor="t"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 dirty="0"/>
              <a:t>[Add subtitle]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1AEAD2E1-78C2-417A-BA9B-BD87A3074B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</a:t>
            </a:r>
            <a:r>
              <a:rPr lang="en-CA" noProof="0" dirty="0"/>
              <a:t>Title</a:t>
            </a:r>
            <a:r>
              <a:rPr lang="en-US" dirty="0"/>
              <a:t>]</a:t>
            </a:r>
          </a:p>
        </p:txBody>
      </p:sp>
      <p:sp>
        <p:nvSpPr>
          <p:cNvPr id="14" name="LogoProtection" hidden="1">
            <a:extLst>
              <a:ext uri="{FF2B5EF4-FFF2-40B4-BE49-F238E27FC236}">
                <a16:creationId xmlns:a16="http://schemas.microsoft.com/office/drawing/2014/main" id="{BE8E25EE-EAF8-4911-92CC-CE8C02C99AA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3EAE23-720B-4D9C-9555-5E7DA4A07BC8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F45F830-F93C-4044-B3C4-E5AA168367F9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1EF4E8-1FFE-4302-BE20-73E41AF655CF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4322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5154F31E-C234-498B-BDEB-A5B6119092D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078840" y="1376716"/>
            <a:ext cx="7619446" cy="509075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dirty="0"/>
              <a:t>[Click to add text]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ext Placeholder">
            <a:extLst>
              <a:ext uri="{FF2B5EF4-FFF2-40B4-BE49-F238E27FC236}">
                <a16:creationId xmlns:a16="http://schemas.microsoft.com/office/drawing/2014/main" id="{D762E5F3-28A6-4BD0-A61E-2E2B905F3C95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0" y="1"/>
            <a:ext cx="3715820" cy="6858000"/>
          </a:xfrm>
          <a:solidFill>
            <a:schemeClr val="accent1"/>
          </a:solidFill>
        </p:spPr>
        <p:txBody>
          <a:bodyPr lIns="274320" tIns="182880" rIns="182880" bIns="182880" anchor="ctr">
            <a:noAutofit/>
          </a:bodyPr>
          <a:lstStyle>
            <a:lvl1pPr marL="0" indent="0">
              <a:buNone/>
              <a:defRPr sz="3200" b="1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[Insert statement / main point / quote – recolor and reseize box to the left as needed]</a:t>
            </a:r>
          </a:p>
        </p:txBody>
      </p:sp>
      <p:sp>
        <p:nvSpPr>
          <p:cNvPr id="9" name="Title">
            <a:extLst>
              <a:ext uri="{FF2B5EF4-FFF2-40B4-BE49-F238E27FC236}">
                <a16:creationId xmlns:a16="http://schemas.microsoft.com/office/drawing/2014/main" id="{CCFB4AF3-1C9D-474B-A3E7-E0FA9439298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078840" y="365740"/>
            <a:ext cx="6499105" cy="818822"/>
          </a:xfrm>
        </p:spPr>
        <p:txBody>
          <a:bodyPr/>
          <a:lstStyle/>
          <a:p>
            <a:r>
              <a:rPr lang="en-US" dirty="0"/>
              <a:t>[Title]</a:t>
            </a:r>
          </a:p>
        </p:txBody>
      </p:sp>
      <p:sp>
        <p:nvSpPr>
          <p:cNvPr id="8" name="LogoProtection" hidden="1">
            <a:extLst>
              <a:ext uri="{FF2B5EF4-FFF2-40B4-BE49-F238E27FC236}">
                <a16:creationId xmlns:a16="http://schemas.microsoft.com/office/drawing/2014/main" id="{766F07F7-F07B-48B6-9BF4-5E2BCE7C12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10584E1E-0348-4C6B-B16B-043C68C6087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EFC7660-1548-41DB-B080-327559BDB3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99DEBBE-C1C0-458F-8BE2-E23B4BDFE9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71594579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ogoProtection" hidden="1">
            <a:extLst>
              <a:ext uri="{FF2B5EF4-FFF2-40B4-BE49-F238E27FC236}">
                <a16:creationId xmlns:a16="http://schemas.microsoft.com/office/drawing/2014/main" id="{66F1EB03-8E59-4532-8ED0-6DA6B1D2D25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9C25D9A-A952-4A2E-9E84-C2D362CEA03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B05E3AC-3B3D-42BF-9429-F98A76CC18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B4EC0A7-B31A-48BC-9369-D602577CCF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930B4742-AD05-4514-848A-39803E2E1ED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noProof="0"/>
              <a:t>[Title]</a:t>
            </a:r>
          </a:p>
        </p:txBody>
      </p:sp>
    </p:spTree>
    <p:extLst>
      <p:ext uri="{BB962C8B-B14F-4D97-AF65-F5344CB8AC3E}">
        <p14:creationId xmlns:p14="http://schemas.microsoft.com/office/powerpoint/2010/main" val="275792916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LogoProtection" hidden="1">
            <a:extLst>
              <a:ext uri="{FF2B5EF4-FFF2-40B4-BE49-F238E27FC236}">
                <a16:creationId xmlns:a16="http://schemas.microsoft.com/office/drawing/2014/main" id="{18E90DAA-2978-4DD0-83FC-DD48A22A553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BFBC81C5-28C6-4331-8B28-F7BF76C99A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EEC482-A1D7-4F92-A94F-67963988EF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AE369C33-4C2E-4702-99C6-D82923EEE3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461673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~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3F4D49-2E73-4859-B1BB-B05C984398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3800" b="1" noProof="0"/>
              <a:t>Color </a:t>
            </a:r>
            <a:br>
              <a:rPr lang="en-CA" sz="13800" b="1" noProof="0"/>
            </a:br>
            <a:r>
              <a:rPr lang="en-CA" sz="13800" b="1" noProof="0"/>
              <a:t>layou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9449A18-0F55-476C-AA97-6AEF3C17357B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599409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0D00913B-EA47-427E-9D5D-9F82A70164AD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A8319912-99EC-4808-A983-2955016049CF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B88639C-54D5-4FC0-BA74-14FAC55A2F0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D80ED3F3-4FD1-49D4-8535-CD00F61AE1AC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3" name="Title 12">
            <a:extLst>
              <a:ext uri="{FF2B5EF4-FFF2-40B4-BE49-F238E27FC236}">
                <a16:creationId xmlns:a16="http://schemas.microsoft.com/office/drawing/2014/main" id="{47E5ADA3-3C25-4CF7-A8C4-A7F4DA2C09E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063" y="365741"/>
            <a:ext cx="9627837" cy="478321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Title]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341BFDB-49AD-4F82-B9A7-DC445719AE0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538" y="859809"/>
            <a:ext cx="9625441" cy="330261"/>
          </a:xfrm>
        </p:spPr>
        <p:txBody>
          <a:bodyPr anchor="ctr">
            <a:noAutofit/>
          </a:bodyPr>
          <a:lstStyle>
            <a:lvl1pPr marL="0" indent="0"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/>
              <a:t>[Click to insert optional 1-row subtitle – or remove]</a:t>
            </a:r>
          </a:p>
        </p:txBody>
      </p:sp>
      <p:pic>
        <p:nvPicPr>
          <p:cNvPr id="15" name="Logo">
            <a:extLst>
              <a:ext uri="{FF2B5EF4-FFF2-40B4-BE49-F238E27FC236}">
                <a16:creationId xmlns:a16="http://schemas.microsoft.com/office/drawing/2014/main" id="{13DF2FCE-AB90-45EB-A485-667499D763E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16" name="Content Placeholder Left">
            <a:extLst>
              <a:ext uri="{FF2B5EF4-FFF2-40B4-BE49-F238E27FC236}">
                <a16:creationId xmlns:a16="http://schemas.microsoft.com/office/drawing/2014/main" id="{F68C958F-55EF-4763-8346-53081C2E14A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90538" y="1376716"/>
            <a:ext cx="11207750" cy="5090759"/>
          </a:xfrm>
        </p:spPr>
        <p:txBody>
          <a:bodyPr/>
          <a:lstStyle/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7" name="LogoProtection" hidden="1">
            <a:extLst>
              <a:ext uri="{FF2B5EF4-FFF2-40B4-BE49-F238E27FC236}">
                <a16:creationId xmlns:a16="http://schemas.microsoft.com/office/drawing/2014/main" id="{8C9F093D-5ADE-4AC5-B94D-6CB140F4817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522ECB0-0812-4A5A-9487-548A6DFC60D0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56AEDB-D1EF-4460-9AB4-2A92E5294D84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04F341A-94EF-4C6B-AA7F-417E4FA6BD0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5816470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+ Subtitle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Left">
            <a:extLst>
              <a:ext uri="{FF2B5EF4-FFF2-40B4-BE49-F238E27FC236}">
                <a16:creationId xmlns:a16="http://schemas.microsoft.com/office/drawing/2014/main" id="{09B6FEDA-2CF9-4961-89A9-98C33D422E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90538" y="1376716"/>
            <a:ext cx="11207750" cy="5090759"/>
          </a:xfrm>
        </p:spPr>
        <p:txBody>
          <a:bodyPr/>
          <a:lstStyle/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4ADB06D-65E9-4A3F-83AD-08884BEB47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538" y="859809"/>
            <a:ext cx="9625441" cy="330261"/>
          </a:xfrm>
        </p:spPr>
        <p:txBody>
          <a:bodyPr anchor="ctr">
            <a:noAutofit/>
          </a:bodyPr>
          <a:lstStyle>
            <a:lvl1pPr marL="0" indent="0"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/>
              <a:t>[Click to insert optional 1-row subtitle – or remove]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FE0280BE-A319-445F-BAEE-0E6947250D9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063" y="365740"/>
            <a:ext cx="9627837" cy="4754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Title]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5835000E-DC4E-4206-8DAF-A8487F3DAB41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A72E5E6-EFC8-4011-B653-73358E3474F6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6392CC2B-9D57-4E92-A4BC-67B0E70D902F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CD8432A-EC23-4D48-BB6C-02033B241334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6" name="Logo">
            <a:extLst>
              <a:ext uri="{FF2B5EF4-FFF2-40B4-BE49-F238E27FC236}">
                <a16:creationId xmlns:a16="http://schemas.microsoft.com/office/drawing/2014/main" id="{B43E8337-D2EA-431C-B14F-587969CB109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17" name="LogoProtection" hidden="1">
            <a:extLst>
              <a:ext uri="{FF2B5EF4-FFF2-40B4-BE49-F238E27FC236}">
                <a16:creationId xmlns:a16="http://schemas.microsoft.com/office/drawing/2014/main" id="{833AD9BD-AA48-426D-AECE-7E064A5B1A2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B50C0B7-6533-47B1-BE0F-E70E983997D9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CB3048-4AD1-4C1A-8151-67EA79EDDD0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CA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FC91E54F-D968-48A3-822B-8AAAD6EE73A7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9258398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ree Content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Right"/>
          <p:cNvSpPr>
            <a:spLocks noGrp="1"/>
          </p:cNvSpPr>
          <p:nvPr>
            <p:ph type="body" sz="quarter" idx="16" hasCustomPrompt="1"/>
          </p:nvPr>
        </p:nvSpPr>
        <p:spPr>
          <a:xfrm>
            <a:off x="8362367" y="2149812"/>
            <a:ext cx="3337560" cy="4342448"/>
          </a:xfrm>
          <a:solidFill>
            <a:schemeClr val="tx1"/>
          </a:solidFill>
        </p:spPr>
        <p:txBody>
          <a:bodyPr lIns="91440" tIns="91440" rIns="91440" bIns="91440"/>
          <a:lstStyle>
            <a:lvl1pPr>
              <a:defRPr sz="2000" baseline="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</p:txBody>
      </p:sp>
      <p:sp>
        <p:nvSpPr>
          <p:cNvPr id="11" name="Text Placeholder Left"/>
          <p:cNvSpPr>
            <a:spLocks noGrp="1"/>
          </p:cNvSpPr>
          <p:nvPr>
            <p:ph type="body" sz="quarter" idx="17" hasCustomPrompt="1"/>
          </p:nvPr>
        </p:nvSpPr>
        <p:spPr>
          <a:xfrm>
            <a:off x="490538" y="2149812"/>
            <a:ext cx="3337560" cy="4342448"/>
          </a:xfrm>
          <a:solidFill>
            <a:schemeClr val="tx1"/>
          </a:solidFill>
        </p:spPr>
        <p:txBody>
          <a:bodyPr lIns="91440" tIns="91440" rIns="91440" bIns="91440"/>
          <a:lstStyle>
            <a:lvl1pPr>
              <a:defRPr sz="2000" baseline="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</p:txBody>
      </p:sp>
      <p:sp>
        <p:nvSpPr>
          <p:cNvPr id="12" name="Text Placeholder Middle"/>
          <p:cNvSpPr>
            <a:spLocks noGrp="1"/>
          </p:cNvSpPr>
          <p:nvPr>
            <p:ph type="body" sz="quarter" idx="18" hasCustomPrompt="1"/>
          </p:nvPr>
        </p:nvSpPr>
        <p:spPr>
          <a:xfrm>
            <a:off x="4500060" y="2149812"/>
            <a:ext cx="3337560" cy="4342448"/>
          </a:xfrm>
          <a:solidFill>
            <a:schemeClr val="tx1"/>
          </a:solidFill>
        </p:spPr>
        <p:txBody>
          <a:bodyPr lIns="91440" tIns="91440" rIns="91440" bIns="91440"/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800">
                <a:solidFill>
                  <a:schemeClr val="bg1"/>
                </a:solidFill>
              </a:defRPr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</p:txBody>
      </p:sp>
      <p:sp>
        <p:nvSpPr>
          <p:cNvPr id="13" name="Subtitle Right"/>
          <p:cNvSpPr>
            <a:spLocks noGrp="1"/>
          </p:cNvSpPr>
          <p:nvPr>
            <p:ph type="body" sz="quarter" idx="19" hasCustomPrompt="1"/>
          </p:nvPr>
        </p:nvSpPr>
        <p:spPr>
          <a:xfrm>
            <a:off x="8362367" y="1371600"/>
            <a:ext cx="3337560" cy="685800"/>
          </a:xfrm>
          <a:solidFill>
            <a:schemeClr val="tx1"/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Add subtitle]</a:t>
            </a:r>
          </a:p>
        </p:txBody>
      </p:sp>
      <p:sp>
        <p:nvSpPr>
          <p:cNvPr id="14" name="Subtitle Left"/>
          <p:cNvSpPr>
            <a:spLocks noGrp="1"/>
          </p:cNvSpPr>
          <p:nvPr>
            <p:ph type="body" sz="quarter" idx="20" hasCustomPrompt="1"/>
          </p:nvPr>
        </p:nvSpPr>
        <p:spPr>
          <a:xfrm>
            <a:off x="490856" y="1371600"/>
            <a:ext cx="3337560" cy="685800"/>
          </a:xfrm>
          <a:solidFill>
            <a:schemeClr val="tx1"/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buNone/>
              <a:defRPr sz="2000" b="0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Add subtitle]</a:t>
            </a:r>
          </a:p>
        </p:txBody>
      </p:sp>
      <p:sp>
        <p:nvSpPr>
          <p:cNvPr id="15" name="Subtitle Middle"/>
          <p:cNvSpPr>
            <a:spLocks noGrp="1"/>
          </p:cNvSpPr>
          <p:nvPr>
            <p:ph type="body" sz="quarter" idx="21" hasCustomPrompt="1"/>
          </p:nvPr>
        </p:nvSpPr>
        <p:spPr>
          <a:xfrm>
            <a:off x="4502786" y="1371600"/>
            <a:ext cx="3337560" cy="685800"/>
          </a:xfrm>
          <a:solidFill>
            <a:schemeClr val="tx1"/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buNone/>
              <a:defRPr sz="2000" b="0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Add subtitle]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642DFB59-A47A-47A6-A5E4-BB44BE3DBC16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B5619075-3210-498E-AA98-8E096F2E4111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54DDAB80-42B6-46BB-B2EB-5D1716243DF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B147FF5C-3EAA-490B-847A-2B30ADDECEE7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 1">
            <a:extLst>
              <a:ext uri="{FF2B5EF4-FFF2-40B4-BE49-F238E27FC236}">
                <a16:creationId xmlns:a16="http://schemas.microsoft.com/office/drawing/2014/main" id="{4B89E8BB-393D-461A-A320-A6ED67C483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Title]</a:t>
            </a:r>
          </a:p>
        </p:txBody>
      </p:sp>
      <p:pic>
        <p:nvPicPr>
          <p:cNvPr id="21" name="Graphic 20">
            <a:extLst>
              <a:ext uri="{FF2B5EF4-FFF2-40B4-BE49-F238E27FC236}">
                <a16:creationId xmlns:a16="http://schemas.microsoft.com/office/drawing/2014/main" id="{584BFDE4-130E-40B1-9E15-34144B53E3A8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22" name="LogoProtection" hidden="1">
            <a:extLst>
              <a:ext uri="{FF2B5EF4-FFF2-40B4-BE49-F238E27FC236}">
                <a16:creationId xmlns:a16="http://schemas.microsoft.com/office/drawing/2014/main" id="{41EBB58F-ABD1-4AB5-933B-6152F65FDFA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708FF3C-B488-43D9-93A5-227C525C5A01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4F871B6-8C4C-4F9D-B534-655A16C5CAFB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0C8D03D-5E2D-47A7-8A5E-16D98DB2D9D5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621628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ur Content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Left">
            <a:extLst>
              <a:ext uri="{FF2B5EF4-FFF2-40B4-BE49-F238E27FC236}">
                <a16:creationId xmlns:a16="http://schemas.microsoft.com/office/drawing/2014/main" id="{CEAD8DD0-C4FA-48E1-8405-6F8CE989624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94063" y="2149475"/>
            <a:ext cx="2406713" cy="4343400"/>
          </a:xfrm>
          <a:solidFill>
            <a:schemeClr val="tx1"/>
          </a:solidFill>
        </p:spPr>
        <p:txBody>
          <a:bodyPr lIns="91440" tIns="91440" rIns="91440" bIns="91440"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2" name="Text Placeholder Left Middle">
            <a:extLst>
              <a:ext uri="{FF2B5EF4-FFF2-40B4-BE49-F238E27FC236}">
                <a16:creationId xmlns:a16="http://schemas.microsoft.com/office/drawing/2014/main" id="{D7A57EE7-AA32-43EE-B377-9BDDD5E40815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3425207" y="2147887"/>
            <a:ext cx="2406713" cy="4343400"/>
          </a:xfrm>
          <a:solidFill>
            <a:schemeClr val="tx1"/>
          </a:solidFill>
        </p:spPr>
        <p:txBody>
          <a:bodyPr lIns="91440" tIns="91440" rIns="91440" bIns="91440"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23" name="Text Placeholder Right Middle">
            <a:extLst>
              <a:ext uri="{FF2B5EF4-FFF2-40B4-BE49-F238E27FC236}">
                <a16:creationId xmlns:a16="http://schemas.microsoft.com/office/drawing/2014/main" id="{365B8BA6-A8B8-4557-883C-FBE81C5C50F6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6356351" y="2147887"/>
            <a:ext cx="2406713" cy="4343400"/>
          </a:xfrm>
          <a:solidFill>
            <a:schemeClr val="tx1"/>
          </a:solidFill>
        </p:spPr>
        <p:txBody>
          <a:bodyPr lIns="91440" tIns="91440" rIns="91440" bIns="91440"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25" name="Text Placeholder Right">
            <a:extLst>
              <a:ext uri="{FF2B5EF4-FFF2-40B4-BE49-F238E27FC236}">
                <a16:creationId xmlns:a16="http://schemas.microsoft.com/office/drawing/2014/main" id="{1467B684-0488-47A8-B7D8-1E3171C34089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9287495" y="2147887"/>
            <a:ext cx="2406713" cy="4343400"/>
          </a:xfrm>
          <a:solidFill>
            <a:schemeClr val="tx1"/>
          </a:solidFill>
        </p:spPr>
        <p:txBody>
          <a:bodyPr lIns="91440" tIns="91440" rIns="91440" bIns="91440">
            <a:normAutofit/>
          </a:bodyPr>
          <a:lstStyle>
            <a:lvl1pPr>
              <a:defRPr sz="2000">
                <a:solidFill>
                  <a:schemeClr val="bg1"/>
                </a:solidFill>
              </a:defRPr>
            </a:lvl1pPr>
            <a:lvl2pPr>
              <a:defRPr sz="1800">
                <a:solidFill>
                  <a:schemeClr val="bg1"/>
                </a:solidFill>
              </a:defRPr>
            </a:lvl2pPr>
            <a:lvl3pPr>
              <a:defRPr sz="1600">
                <a:solidFill>
                  <a:schemeClr val="bg1"/>
                </a:solidFill>
              </a:defRPr>
            </a:lvl3pPr>
            <a:lvl4pPr>
              <a:defRPr sz="1400">
                <a:solidFill>
                  <a:schemeClr val="bg1"/>
                </a:solidFill>
              </a:defRPr>
            </a:lvl4pPr>
            <a:lvl5pPr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20" name="Subtitle  Right Middle">
            <a:extLst>
              <a:ext uri="{FF2B5EF4-FFF2-40B4-BE49-F238E27FC236}">
                <a16:creationId xmlns:a16="http://schemas.microsoft.com/office/drawing/2014/main" id="{8B8A8831-8061-42B1-BC45-0E431167D0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356351" y="1379628"/>
            <a:ext cx="2406713" cy="685800"/>
          </a:xfrm>
          <a:solidFill>
            <a:schemeClr val="tx1"/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Add subtitle]</a:t>
            </a:r>
          </a:p>
        </p:txBody>
      </p:sp>
      <p:sp>
        <p:nvSpPr>
          <p:cNvPr id="21" name="Subtitle Left">
            <a:extLst>
              <a:ext uri="{FF2B5EF4-FFF2-40B4-BE49-F238E27FC236}">
                <a16:creationId xmlns:a16="http://schemas.microsoft.com/office/drawing/2014/main" id="{49F434C2-1A5B-478C-9B85-9EF04AC36C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94063" y="1371600"/>
            <a:ext cx="2404872" cy="685800"/>
          </a:xfrm>
          <a:solidFill>
            <a:schemeClr val="tx1"/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buNone/>
              <a:defRPr sz="2000" b="0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 dirty="0"/>
              <a:t>[Add subtitle]</a:t>
            </a:r>
          </a:p>
        </p:txBody>
      </p:sp>
      <p:sp>
        <p:nvSpPr>
          <p:cNvPr id="22" name="Subtitle Left Middle">
            <a:extLst>
              <a:ext uri="{FF2B5EF4-FFF2-40B4-BE49-F238E27FC236}">
                <a16:creationId xmlns:a16="http://schemas.microsoft.com/office/drawing/2014/main" id="{C87278CD-E54D-4290-9A9C-4FD96124108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425207" y="1379628"/>
            <a:ext cx="2406713" cy="685800"/>
          </a:xfrm>
          <a:solidFill>
            <a:schemeClr val="tx1"/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buNone/>
              <a:defRPr sz="2000" b="0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Add subtitle]</a:t>
            </a:r>
          </a:p>
        </p:txBody>
      </p:sp>
      <p:sp>
        <p:nvSpPr>
          <p:cNvPr id="24" name="Subtitle Right">
            <a:extLst>
              <a:ext uri="{FF2B5EF4-FFF2-40B4-BE49-F238E27FC236}">
                <a16:creationId xmlns:a16="http://schemas.microsoft.com/office/drawing/2014/main" id="{CBAFCF0E-6830-4163-B855-69E171557803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9287495" y="1379628"/>
            <a:ext cx="2406713" cy="685800"/>
          </a:xfrm>
          <a:solidFill>
            <a:schemeClr val="tx1"/>
          </a:solidFill>
        </p:spPr>
        <p:txBody>
          <a:bodyPr lIns="91440" tIns="91440" rIns="91440" bIns="91440" anchor="ctr">
            <a:noAutofit/>
          </a:bodyPr>
          <a:lstStyle>
            <a:lvl1pPr marL="0" indent="0">
              <a:buNone/>
              <a:defRPr sz="2000" b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Add subtitle]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790972C-7C81-462D-928A-CA46AAA35F18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45E5EEA-FE1A-4E29-B2BA-007DCCD3600E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EC103118-291E-466E-93CF-26E6301DE9A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CCD7FCCC-C14B-4D64-8D7B-F15AD81DFA90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" name="Title">
            <a:extLst>
              <a:ext uri="{FF2B5EF4-FFF2-40B4-BE49-F238E27FC236}">
                <a16:creationId xmlns:a16="http://schemas.microsoft.com/office/drawing/2014/main" id="{8A6A4C62-E730-47C2-BD04-E8B26E2D381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Title]</a:t>
            </a:r>
          </a:p>
        </p:txBody>
      </p:sp>
      <p:pic>
        <p:nvPicPr>
          <p:cNvPr id="19" name="Logo">
            <a:extLst>
              <a:ext uri="{FF2B5EF4-FFF2-40B4-BE49-F238E27FC236}">
                <a16:creationId xmlns:a16="http://schemas.microsoft.com/office/drawing/2014/main" id="{E9356DF6-48A0-413C-B771-B82595C4F84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26" name="LogoProtection" hidden="1">
            <a:extLst>
              <a:ext uri="{FF2B5EF4-FFF2-40B4-BE49-F238E27FC236}">
                <a16:creationId xmlns:a16="http://schemas.microsoft.com/office/drawing/2014/main" id="{2A26FAEA-60EF-4409-83D5-C584726CD55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C5CD94F-CDD7-482B-90EA-E90ADBFD21E2}"/>
              </a:ext>
            </a:extLst>
          </p:cNvPr>
          <p:cNvSpPr>
            <a:spLocks noGrp="1"/>
          </p:cNvSpPr>
          <p:nvPr>
            <p:ph type="dt" sz="half" idx="4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8749B9F-71EF-41D5-9576-026D7B83F144}"/>
              </a:ext>
            </a:extLst>
          </p:cNvPr>
          <p:cNvSpPr>
            <a:spLocks noGrp="1"/>
          </p:cNvSpPr>
          <p:nvPr>
            <p:ph type="ftr" sz="quarter" idx="4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CA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93732E2-1776-4734-8F32-CDC0FDE85987}"/>
              </a:ext>
            </a:extLst>
          </p:cNvPr>
          <p:cNvSpPr>
            <a:spLocks noGrp="1"/>
          </p:cNvSpPr>
          <p:nvPr>
            <p:ph type="sldNum" sz="quarter" idx="4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6684987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+ Textbox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668003B4-4372-4D2A-AA66-3A4E0AA89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063" y="365740"/>
            <a:ext cx="9627837" cy="4754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Title]</a:t>
            </a:r>
          </a:p>
        </p:txBody>
      </p:sp>
      <p:sp>
        <p:nvSpPr>
          <p:cNvPr id="7" name="Text Placeholder Left">
            <a:extLst>
              <a:ext uri="{FF2B5EF4-FFF2-40B4-BE49-F238E27FC236}">
                <a16:creationId xmlns:a16="http://schemas.microsoft.com/office/drawing/2014/main" id="{83E607D4-B85D-4944-99AB-9F7FB2C7F8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371600"/>
            <a:ext cx="4804012" cy="5119688"/>
          </a:xfrm>
          <a:solidFill>
            <a:schemeClr val="tx1"/>
          </a:solidFill>
        </p:spPr>
        <p:txBody>
          <a:bodyPr lIns="475488" tIns="182880" rIns="182880" bIns="18288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44CEFF1-C7C0-4C07-A655-223E8FA068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4062" y="859809"/>
            <a:ext cx="9625441" cy="330816"/>
          </a:xfrm>
        </p:spPr>
        <p:txBody>
          <a:bodyPr anchor="ctr">
            <a:noAutofit/>
          </a:bodyPr>
          <a:lstStyle>
            <a:lvl1pPr marL="0" indent="0">
              <a:buNone/>
              <a:defRPr sz="18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/>
              <a:t>[Click to insert optional 1-row subtitle – or remove]</a:t>
            </a:r>
          </a:p>
        </p:txBody>
      </p:sp>
      <p:sp>
        <p:nvSpPr>
          <p:cNvPr id="10" name="Content Placeholder Right">
            <a:extLst>
              <a:ext uri="{FF2B5EF4-FFF2-40B4-BE49-F238E27FC236}">
                <a16:creationId xmlns:a16="http://schemas.microsoft.com/office/drawing/2014/main" id="{49F0FD67-9106-4CDF-B5D0-0612F93CE90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06371" y="1371600"/>
            <a:ext cx="6791917" cy="5119688"/>
          </a:xfrm>
        </p:spPr>
        <p:txBody>
          <a:bodyPr lIns="91440" tIns="91440" rIns="91440" bIns="91440"/>
          <a:lstStyle/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6037D5B-BAF5-4D37-8BF4-E8AAAC0760D4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EA964C4-C66E-497F-AFBD-C20861582C29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F4FEAABE-6952-47F9-9F4F-F7D62DE545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C956467D-DA25-4CB5-BDF0-F6DD55585DFE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6" name="Graphic 15">
            <a:extLst>
              <a:ext uri="{FF2B5EF4-FFF2-40B4-BE49-F238E27FC236}">
                <a16:creationId xmlns:a16="http://schemas.microsoft.com/office/drawing/2014/main" id="{4D633C2E-A0A7-4AB9-A163-1CD4AB8C231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17" name="LogoProtection" hidden="1">
            <a:extLst>
              <a:ext uri="{FF2B5EF4-FFF2-40B4-BE49-F238E27FC236}">
                <a16:creationId xmlns:a16="http://schemas.microsoft.com/office/drawing/2014/main" id="{ED67AEC6-1D34-4A2E-B45B-820313A8AA3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F3803BF3-1456-4635-A383-38601012257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021AA8E8-5A90-4E65-9007-AF71B1BF5B1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CA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A9075E4E-A88D-4A31-B231-D5AAED85FC31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52031890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">
            <a:extLst>
              <a:ext uri="{FF2B5EF4-FFF2-40B4-BE49-F238E27FC236}">
                <a16:creationId xmlns:a16="http://schemas.microsoft.com/office/drawing/2014/main" id="{238902E9-10B7-48C7-9522-0FC72E770E40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94064" y="1376716"/>
            <a:ext cx="11207748" cy="5114572"/>
          </a:xfrm>
        </p:spPr>
        <p:txBody>
          <a:bodyPr/>
          <a:lstStyle/>
          <a:p>
            <a:pPr lvl="0"/>
            <a:r>
              <a:rPr lang="en-CA" noProof="0" dirty="0"/>
              <a:t>[Click to add text]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5D4001-23B5-40F5-ADBA-0AF31A016C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064" y="365740"/>
            <a:ext cx="9625982" cy="818822"/>
          </a:xfrm>
        </p:spPr>
        <p:txBody>
          <a:bodyPr/>
          <a:lstStyle>
            <a:lvl1pPr>
              <a:defRPr/>
            </a:lvl1pPr>
          </a:lstStyle>
          <a:p>
            <a:r>
              <a:rPr lang="en-CA" noProof="0" dirty="0"/>
              <a:t>[Title]</a:t>
            </a:r>
          </a:p>
        </p:txBody>
      </p:sp>
      <p:sp>
        <p:nvSpPr>
          <p:cNvPr id="8" name="LogoProtection" hidden="1">
            <a:extLst>
              <a:ext uri="{FF2B5EF4-FFF2-40B4-BE49-F238E27FC236}">
                <a16:creationId xmlns:a16="http://schemas.microsoft.com/office/drawing/2014/main" id="{0E3145EB-1C5F-4C0C-A3BC-576828F83AA5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B96182F-660B-4480-B107-338A79B1894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E1E2512D-EEF3-4C23-A270-9B99EE4FE3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4EA38735-A2FB-488F-BAEB-FC207FA3E7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6683617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1CC7BA7-426B-48BE-A221-46EC513502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Title]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415B541-EC06-407E-9E60-70A6076F7C4F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86C372F-B3FC-4378-BE15-2A3DFE32749E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06CA387-F988-46C1-A6CE-98A24C8D8D2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E6F2A7F-A11D-4F32-8778-9C9125FF4199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Logo">
            <a:extLst>
              <a:ext uri="{FF2B5EF4-FFF2-40B4-BE49-F238E27FC236}">
                <a16:creationId xmlns:a16="http://schemas.microsoft.com/office/drawing/2014/main" id="{DFD9DDB8-615A-47CB-9D8C-7231A67E83E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12" name="LogoProtection" hidden="1">
            <a:extLst>
              <a:ext uri="{FF2B5EF4-FFF2-40B4-BE49-F238E27FC236}">
                <a16:creationId xmlns:a16="http://schemas.microsoft.com/office/drawing/2014/main" id="{6CDD8ED5-3F38-4EAB-B736-F6EB01289F7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97F286AE-5945-4663-84BD-3CD6FF411C3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5E304E71-90E3-4ABB-95B0-7730CC0D66B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CA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1F32F04C-60FD-4E23-BB08-3A7243E339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60089195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415B541-EC06-407E-9E60-70A6076F7C4F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E86C372F-B3FC-4378-BE15-2A3DFE32749E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906CA387-F988-46C1-A6CE-98A24C8D8D2D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BE6F2A7F-A11D-4F32-8778-9C9125FF4199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1" name="Logo">
            <a:extLst>
              <a:ext uri="{FF2B5EF4-FFF2-40B4-BE49-F238E27FC236}">
                <a16:creationId xmlns:a16="http://schemas.microsoft.com/office/drawing/2014/main" id="{1396B117-73EB-4B0F-BFC0-BB6000EBC0D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12" name="LogoProtection" hidden="1">
            <a:extLst>
              <a:ext uri="{FF2B5EF4-FFF2-40B4-BE49-F238E27FC236}">
                <a16:creationId xmlns:a16="http://schemas.microsoft.com/office/drawing/2014/main" id="{2A7D7D90-E485-45E0-B4AB-009A344B6B2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DF424B4-DFDF-4603-9322-FD1F9EC697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A6F1871-A28D-44DB-B8CD-79D16B1C09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CA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35934400-E329-49C9-A0EB-9178D30CD1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3073637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~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3F4D49-2E73-4859-B1BB-B05C984398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3800" b="1" noProof="0"/>
              <a:t>Image </a:t>
            </a:r>
            <a:br>
              <a:rPr lang="en-CA" sz="13800" b="1" noProof="0"/>
            </a:br>
            <a:r>
              <a:rPr lang="en-CA" sz="13800" b="1" noProof="0"/>
              <a:t>Layout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283B8ED-AF26-47DA-B0FF-7B7AB01E4BE4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917222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">
            <a:extLst>
              <a:ext uri="{FF2B5EF4-FFF2-40B4-BE49-F238E27FC236}">
                <a16:creationId xmlns:a16="http://schemas.microsoft.com/office/drawing/2014/main" id="{24AF82DC-E527-4757-8D93-D0F3775A977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792663" cy="6858000"/>
          </a:xfrm>
          <a:custGeom>
            <a:avLst/>
            <a:gdLst>
              <a:gd name="connsiteX0" fmla="*/ 0 w 4792663"/>
              <a:gd name="connsiteY0" fmla="*/ 0 h 6858000"/>
              <a:gd name="connsiteX1" fmla="*/ 3449443 w 4792663"/>
              <a:gd name="connsiteY1" fmla="*/ 0 h 6858000"/>
              <a:gd name="connsiteX2" fmla="*/ 3573344 w 4792663"/>
              <a:gd name="connsiteY2" fmla="*/ 124392 h 6858000"/>
              <a:gd name="connsiteX3" fmla="*/ 4387137 w 4792663"/>
              <a:gd name="connsiteY3" fmla="*/ 1372896 h 6858000"/>
              <a:gd name="connsiteX4" fmla="*/ 4788070 w 4792663"/>
              <a:gd name="connsiteY4" fmla="*/ 3004247 h 6858000"/>
              <a:gd name="connsiteX5" fmla="*/ 4792663 w 4792663"/>
              <a:gd name="connsiteY5" fmla="*/ 3085896 h 6858000"/>
              <a:gd name="connsiteX6" fmla="*/ 4792663 w 4792663"/>
              <a:gd name="connsiteY6" fmla="*/ 3630231 h 6858000"/>
              <a:gd name="connsiteX7" fmla="*/ 4775937 w 4792663"/>
              <a:gd name="connsiteY7" fmla="*/ 3816037 h 6858000"/>
              <a:gd name="connsiteX8" fmla="*/ 2916100 w 4792663"/>
              <a:gd name="connsiteY8" fmla="*/ 6757182 h 6858000"/>
              <a:gd name="connsiteX9" fmla="*/ 2769638 w 4792663"/>
              <a:gd name="connsiteY9" fmla="*/ 6858000 h 6858000"/>
              <a:gd name="connsiteX10" fmla="*/ 0 w 4792663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92663" h="6858000">
                <a:moveTo>
                  <a:pt x="0" y="0"/>
                </a:moveTo>
                <a:lnTo>
                  <a:pt x="3449443" y="0"/>
                </a:lnTo>
                <a:lnTo>
                  <a:pt x="3573344" y="124392"/>
                </a:lnTo>
                <a:cubicBezTo>
                  <a:pt x="3924523" y="496436"/>
                  <a:pt x="4204969" y="915378"/>
                  <a:pt x="4387137" y="1372896"/>
                </a:cubicBezTo>
                <a:cubicBezTo>
                  <a:pt x="4621906" y="1962618"/>
                  <a:pt x="4748185" y="2505613"/>
                  <a:pt x="4788070" y="3004247"/>
                </a:cubicBezTo>
                <a:lnTo>
                  <a:pt x="4792663" y="3085896"/>
                </a:lnTo>
                <a:lnTo>
                  <a:pt x="4792663" y="3630231"/>
                </a:lnTo>
                <a:lnTo>
                  <a:pt x="4775937" y="3816037"/>
                </a:lnTo>
                <a:cubicBezTo>
                  <a:pt x="4621031" y="5162170"/>
                  <a:pt x="3802218" y="6121242"/>
                  <a:pt x="2916100" y="6757182"/>
                </a:cubicBezTo>
                <a:lnTo>
                  <a:pt x="27696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effectLst>
            <a:outerShdw blurRad="317500" dist="63500" algn="l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CA" noProof="0"/>
          </a:p>
        </p:txBody>
      </p:sp>
      <p:sp>
        <p:nvSpPr>
          <p:cNvPr id="14" name="Title">
            <a:extLst>
              <a:ext uri="{FF2B5EF4-FFF2-40B4-BE49-F238E27FC236}">
                <a16:creationId xmlns:a16="http://schemas.microsoft.com/office/drawing/2014/main" id="{AA05397F-CE0C-42B6-AFE8-7DD0D1B697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5233" y="712497"/>
            <a:ext cx="6481986" cy="5059037"/>
          </a:xfrm>
        </p:spPr>
        <p:txBody>
          <a:bodyPr anchor="t">
            <a:noAutofit/>
          </a:bodyPr>
          <a:lstStyle>
            <a:lvl1pPr>
              <a:defRPr sz="3600" b="1">
                <a:solidFill>
                  <a:schemeClr val="accent1"/>
                </a:solidFill>
              </a:defRPr>
            </a:lvl1pPr>
          </a:lstStyle>
          <a:p>
            <a:r>
              <a:rPr lang="en-CA" noProof="0"/>
              <a:t>[“Add quote / statement”]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35ADAD-373F-41F8-A64B-286BDF8F6A5F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B3DD13-BAB9-478C-B0D0-4CC0274AA324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D1F3AD7-466C-4935-8A7E-BB14484C66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9808C33-AB40-46B8-AEE5-6111A587E26C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9" name="Subtitle">
            <a:extLst>
              <a:ext uri="{FF2B5EF4-FFF2-40B4-BE49-F238E27FC236}">
                <a16:creationId xmlns:a16="http://schemas.microsoft.com/office/drawing/2014/main" id="{30C7CBDE-24E5-45E7-A1B8-48449E19449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573" y="5771534"/>
            <a:ext cx="6486746" cy="330816"/>
          </a:xfrm>
        </p:spPr>
        <p:txBody>
          <a:bodyPr anchor="ctr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/>
              <a:t>[Add source / subtitle]</a:t>
            </a:r>
          </a:p>
        </p:txBody>
      </p:sp>
      <p:sp>
        <p:nvSpPr>
          <p:cNvPr id="12" name="LogoProtection" hidden="1">
            <a:extLst>
              <a:ext uri="{FF2B5EF4-FFF2-40B4-BE49-F238E27FC236}">
                <a16:creationId xmlns:a16="http://schemas.microsoft.com/office/drawing/2014/main" id="{24931C63-D462-42E4-A299-63B04CE52FC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BC26089-2FCB-40FB-9FB9-AA1866CB0A34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528D01-FE46-41C5-93D8-282656B19606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4E21694-03B5-4D1D-BCA2-3B5CF5DFAB1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920586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ote / Statement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EF35ADAD-373F-41F8-A64B-286BDF8F6A5F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B3DD13-BAB9-478C-B0D0-4CC0274AA324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D1F3AD7-466C-4935-8A7E-BB14484C66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9808C33-AB40-46B8-AEE5-6111A587E26C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20" name="Logo">
            <a:extLst>
              <a:ext uri="{FF2B5EF4-FFF2-40B4-BE49-F238E27FC236}">
                <a16:creationId xmlns:a16="http://schemas.microsoft.com/office/drawing/2014/main" id="{7981E801-28BF-46A5-8A1B-AA0258ABA819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22" name="Title">
            <a:extLst>
              <a:ext uri="{FF2B5EF4-FFF2-40B4-BE49-F238E27FC236}">
                <a16:creationId xmlns:a16="http://schemas.microsoft.com/office/drawing/2014/main" id="{CC3F5317-D4BF-43B4-A344-BB7CFFA834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215233" y="712497"/>
            <a:ext cx="6481986" cy="5059037"/>
          </a:xfrm>
        </p:spPr>
        <p:txBody>
          <a:bodyPr anchor="t">
            <a:noAutofit/>
          </a:bodyPr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CA" noProof="0"/>
              <a:t>[“Add quote / statement”]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3D5D7887-0417-49AF-8611-B7F33CF8045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214573" y="5771534"/>
            <a:ext cx="6486746" cy="330816"/>
          </a:xfrm>
        </p:spPr>
        <p:txBody>
          <a:bodyPr anchor="ctr">
            <a:noAutofit/>
          </a:bodyPr>
          <a:lstStyle>
            <a:lvl1pPr marL="0" indent="0">
              <a:buNone/>
              <a:defRPr sz="1800">
                <a:solidFill>
                  <a:schemeClr val="bg1"/>
                </a:solidFill>
              </a:defRPr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/>
              <a:t>[Add source / subtitle]</a:t>
            </a:r>
          </a:p>
        </p:txBody>
      </p:sp>
      <p:sp>
        <p:nvSpPr>
          <p:cNvPr id="24" name="Picture Placeholder">
            <a:extLst>
              <a:ext uri="{FF2B5EF4-FFF2-40B4-BE49-F238E27FC236}">
                <a16:creationId xmlns:a16="http://schemas.microsoft.com/office/drawing/2014/main" id="{2BACECD2-CE7B-448D-9D88-426C7D61E0C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4792663" cy="6858000"/>
          </a:xfrm>
          <a:custGeom>
            <a:avLst/>
            <a:gdLst>
              <a:gd name="connsiteX0" fmla="*/ 0 w 4792663"/>
              <a:gd name="connsiteY0" fmla="*/ 0 h 6858000"/>
              <a:gd name="connsiteX1" fmla="*/ 3449443 w 4792663"/>
              <a:gd name="connsiteY1" fmla="*/ 0 h 6858000"/>
              <a:gd name="connsiteX2" fmla="*/ 3573344 w 4792663"/>
              <a:gd name="connsiteY2" fmla="*/ 124392 h 6858000"/>
              <a:gd name="connsiteX3" fmla="*/ 4387137 w 4792663"/>
              <a:gd name="connsiteY3" fmla="*/ 1372896 h 6858000"/>
              <a:gd name="connsiteX4" fmla="*/ 4788070 w 4792663"/>
              <a:gd name="connsiteY4" fmla="*/ 3004247 h 6858000"/>
              <a:gd name="connsiteX5" fmla="*/ 4792663 w 4792663"/>
              <a:gd name="connsiteY5" fmla="*/ 3085896 h 6858000"/>
              <a:gd name="connsiteX6" fmla="*/ 4792663 w 4792663"/>
              <a:gd name="connsiteY6" fmla="*/ 3630231 h 6858000"/>
              <a:gd name="connsiteX7" fmla="*/ 4775937 w 4792663"/>
              <a:gd name="connsiteY7" fmla="*/ 3816037 h 6858000"/>
              <a:gd name="connsiteX8" fmla="*/ 2916100 w 4792663"/>
              <a:gd name="connsiteY8" fmla="*/ 6757182 h 6858000"/>
              <a:gd name="connsiteX9" fmla="*/ 2769638 w 4792663"/>
              <a:gd name="connsiteY9" fmla="*/ 6858000 h 6858000"/>
              <a:gd name="connsiteX10" fmla="*/ 0 w 4792663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4792663" h="6858000">
                <a:moveTo>
                  <a:pt x="0" y="0"/>
                </a:moveTo>
                <a:lnTo>
                  <a:pt x="3449443" y="0"/>
                </a:lnTo>
                <a:lnTo>
                  <a:pt x="3573344" y="124392"/>
                </a:lnTo>
                <a:cubicBezTo>
                  <a:pt x="3924523" y="496436"/>
                  <a:pt x="4204969" y="915378"/>
                  <a:pt x="4387137" y="1372896"/>
                </a:cubicBezTo>
                <a:cubicBezTo>
                  <a:pt x="4621906" y="1962618"/>
                  <a:pt x="4748185" y="2505613"/>
                  <a:pt x="4788070" y="3004247"/>
                </a:cubicBezTo>
                <a:lnTo>
                  <a:pt x="4792663" y="3085896"/>
                </a:lnTo>
                <a:lnTo>
                  <a:pt x="4792663" y="3630231"/>
                </a:lnTo>
                <a:lnTo>
                  <a:pt x="4775937" y="3816037"/>
                </a:lnTo>
                <a:cubicBezTo>
                  <a:pt x="4621031" y="5162170"/>
                  <a:pt x="3802218" y="6121242"/>
                  <a:pt x="2916100" y="6757182"/>
                </a:cubicBezTo>
                <a:lnTo>
                  <a:pt x="2769638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  <a:effectLst>
            <a:outerShdw blurRad="317500" dist="63500" algn="l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CA" noProof="0"/>
          </a:p>
        </p:txBody>
      </p:sp>
      <p:sp>
        <p:nvSpPr>
          <p:cNvPr id="13" name="LogoProtection" hidden="1">
            <a:extLst>
              <a:ext uri="{FF2B5EF4-FFF2-40B4-BE49-F238E27FC236}">
                <a16:creationId xmlns:a16="http://schemas.microsoft.com/office/drawing/2014/main" id="{196A36F9-22B9-4696-AD09-913A40183B1E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10E1E4A-1E41-4912-A6F7-AD1FB3897C18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B7D8A3A-C20F-41E7-BB8B-BE41E00062D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3FAA8EA-A686-461D-ABD0-0D0E673DED1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736673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850307CF-30D8-46AF-BC11-03F0F26DBB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350525" y="1371600"/>
            <a:ext cx="8841476" cy="5095875"/>
          </a:xfrm>
          <a:solidFill>
            <a:schemeClr val="bg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4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CA" noProof="0"/>
              <a:t>Click icon to add picture</a:t>
            </a:r>
          </a:p>
        </p:txBody>
      </p:sp>
      <p:sp>
        <p:nvSpPr>
          <p:cNvPr id="4" name="Text Placeholder">
            <a:extLst>
              <a:ext uri="{FF2B5EF4-FFF2-40B4-BE49-F238E27FC236}">
                <a16:creationId xmlns:a16="http://schemas.microsoft.com/office/drawing/2014/main" id="{6943FF46-3111-4718-9FA8-1FE4B016DD3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0" y="1371599"/>
            <a:ext cx="3350525" cy="5095875"/>
          </a:xfrm>
          <a:solidFill>
            <a:schemeClr val="accent1"/>
          </a:solidFill>
        </p:spPr>
        <p:txBody>
          <a:bodyPr lIns="182880" tIns="182880" rIns="182880" bIns="182880"/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CA" noProof="0"/>
              <a:t>[Add text – change the color of the textbox as needed]</a:t>
            </a: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B2825493-0538-4630-969F-2E78EC377B2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noProof="0"/>
              <a:t>[Title]</a:t>
            </a:r>
          </a:p>
        </p:txBody>
      </p:sp>
      <p:sp>
        <p:nvSpPr>
          <p:cNvPr id="8" name="LogoProtection" hidden="1">
            <a:extLst>
              <a:ext uri="{FF2B5EF4-FFF2-40B4-BE49-F238E27FC236}">
                <a16:creationId xmlns:a16="http://schemas.microsoft.com/office/drawing/2014/main" id="{BC733134-74DC-4E22-AC00-7DFBDEBD9D9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34A345F-2196-435A-A75F-A9AB7BEFC96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F52D788C-4602-4CC6-8B7E-B0A19945EF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7304DCEF-3478-4778-A465-D12D8CE1F6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0073189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Logo">
            <a:extLst>
              <a:ext uri="{FF2B5EF4-FFF2-40B4-BE49-F238E27FC236}">
                <a16:creationId xmlns:a16="http://schemas.microsoft.com/office/drawing/2014/main" id="{D241029A-AB7B-4B62-B27D-2FA60F101C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9" name="Content Placeholder">
            <a:extLst>
              <a:ext uri="{FF2B5EF4-FFF2-40B4-BE49-F238E27FC236}">
                <a16:creationId xmlns:a16="http://schemas.microsoft.com/office/drawing/2014/main" id="{328EDAFE-FCA5-48A6-8CE6-A15FA27EE7D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94064" y="1371600"/>
            <a:ext cx="5248275" cy="5095875"/>
          </a:xfrm>
        </p:spPr>
        <p:txBody>
          <a:bodyPr/>
          <a:lstStyle/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10" name="Title">
            <a:extLst>
              <a:ext uri="{FF2B5EF4-FFF2-40B4-BE49-F238E27FC236}">
                <a16:creationId xmlns:a16="http://schemas.microsoft.com/office/drawing/2014/main" id="{B2222F92-4ECD-4FA8-96E7-80CB31FCBE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064" y="365740"/>
            <a:ext cx="5244750" cy="818822"/>
          </a:xfrm>
        </p:spPr>
        <p:txBody>
          <a:bodyPr/>
          <a:lstStyle/>
          <a:p>
            <a:r>
              <a:rPr lang="en-CA" noProof="0"/>
              <a:t>[Title]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AC05ADA-A27D-431C-B700-43EC0BC6BDC2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marL="0" indent="0" algn="l">
              <a:lnSpc>
                <a:spcPct val="90000"/>
              </a:lnSpc>
              <a:spcBef>
                <a:spcPts val="600"/>
              </a:spcBef>
              <a:buNone/>
            </a:pPr>
            <a:r>
              <a:rPr lang="en-US" sz="1400" b="1" dirty="0"/>
              <a:t>Do not resize the </a:t>
            </a:r>
            <a:br>
              <a:rPr lang="en-US" sz="1400" b="1" dirty="0"/>
            </a:br>
            <a:r>
              <a:rPr lang="en-US" sz="1400" b="1" dirty="0"/>
              <a:t>image placeholder! 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sp>
        <p:nvSpPr>
          <p:cNvPr id="15" name="Image Placeholder">
            <a:extLst>
              <a:ext uri="{FF2B5EF4-FFF2-40B4-BE49-F238E27FC236}">
                <a16:creationId xmlns:a16="http://schemas.microsoft.com/office/drawing/2014/main" id="{08C79B6F-86BC-47AB-9EE2-E0C1D7161E6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4413" y="0"/>
            <a:ext cx="6097587" cy="6858000"/>
          </a:xfrm>
          <a:custGeom>
            <a:avLst/>
            <a:gdLst>
              <a:gd name="connsiteX0" fmla="*/ 5596943 w 6097587"/>
              <a:gd name="connsiteY0" fmla="*/ 346463 h 6858000"/>
              <a:gd name="connsiteX1" fmla="*/ 5596943 w 6097587"/>
              <a:gd name="connsiteY1" fmla="*/ 346658 h 6858000"/>
              <a:gd name="connsiteX2" fmla="*/ 5594340 w 6097587"/>
              <a:gd name="connsiteY2" fmla="*/ 346658 h 6858000"/>
              <a:gd name="connsiteX3" fmla="*/ 5596943 w 6097587"/>
              <a:gd name="connsiteY3" fmla="*/ 346463 h 6858000"/>
              <a:gd name="connsiteX4" fmla="*/ 5558013 w 6097587"/>
              <a:gd name="connsiteY4" fmla="*/ 318920 h 6858000"/>
              <a:gd name="connsiteX5" fmla="*/ 5593950 w 6097587"/>
              <a:gd name="connsiteY5" fmla="*/ 318920 h 6858000"/>
              <a:gd name="connsiteX6" fmla="*/ 5599003 w 6097587"/>
              <a:gd name="connsiteY6" fmla="*/ 325752 h 6858000"/>
              <a:gd name="connsiteX7" fmla="*/ 5599005 w 6097587"/>
              <a:gd name="connsiteY7" fmla="*/ 325949 h 6858000"/>
              <a:gd name="connsiteX8" fmla="*/ 5593950 w 6097587"/>
              <a:gd name="connsiteY8" fmla="*/ 330870 h 6858000"/>
              <a:gd name="connsiteX9" fmla="*/ 5558013 w 6097587"/>
              <a:gd name="connsiteY9" fmla="*/ 330870 h 6858000"/>
              <a:gd name="connsiteX10" fmla="*/ 5152236 w 6097587"/>
              <a:gd name="connsiteY10" fmla="*/ 318876 h 6858000"/>
              <a:gd name="connsiteX11" fmla="*/ 5188173 w 6097587"/>
              <a:gd name="connsiteY11" fmla="*/ 318876 h 6858000"/>
              <a:gd name="connsiteX12" fmla="*/ 5193204 w 6097587"/>
              <a:gd name="connsiteY12" fmla="*/ 326358 h 6858000"/>
              <a:gd name="connsiteX13" fmla="*/ 5187977 w 6097587"/>
              <a:gd name="connsiteY13" fmla="*/ 332409 h 6858000"/>
              <a:gd name="connsiteX14" fmla="*/ 5152236 w 6097587"/>
              <a:gd name="connsiteY14" fmla="*/ 332409 h 6858000"/>
              <a:gd name="connsiteX15" fmla="*/ 5269242 w 6097587"/>
              <a:gd name="connsiteY15" fmla="*/ 317575 h 6858000"/>
              <a:gd name="connsiteX16" fmla="*/ 5295007 w 6097587"/>
              <a:gd name="connsiteY16" fmla="*/ 337268 h 6858000"/>
              <a:gd name="connsiteX17" fmla="*/ 5292838 w 6097587"/>
              <a:gd name="connsiteY17" fmla="*/ 345119 h 6858000"/>
              <a:gd name="connsiteX18" fmla="*/ 5269307 w 6097587"/>
              <a:gd name="connsiteY18" fmla="*/ 357069 h 6858000"/>
              <a:gd name="connsiteX19" fmla="*/ 5243650 w 6097587"/>
              <a:gd name="connsiteY19" fmla="*/ 337268 h 6858000"/>
              <a:gd name="connsiteX20" fmla="*/ 5245906 w 6097587"/>
              <a:gd name="connsiteY20" fmla="*/ 328875 h 6858000"/>
              <a:gd name="connsiteX21" fmla="*/ 5269242 w 6097587"/>
              <a:gd name="connsiteY21" fmla="*/ 317575 h 6858000"/>
              <a:gd name="connsiteX22" fmla="*/ 5456710 w 6097587"/>
              <a:gd name="connsiteY22" fmla="*/ 303283 h 6858000"/>
              <a:gd name="connsiteX23" fmla="*/ 5452980 w 6097587"/>
              <a:gd name="connsiteY23" fmla="*/ 304693 h 6858000"/>
              <a:gd name="connsiteX24" fmla="*/ 5452416 w 6097587"/>
              <a:gd name="connsiteY24" fmla="*/ 305994 h 6858000"/>
              <a:gd name="connsiteX25" fmla="*/ 5452416 w 6097587"/>
              <a:gd name="connsiteY25" fmla="*/ 368259 h 6858000"/>
              <a:gd name="connsiteX26" fmla="*/ 5452980 w 6097587"/>
              <a:gd name="connsiteY26" fmla="*/ 369582 h 6858000"/>
              <a:gd name="connsiteX27" fmla="*/ 5456710 w 6097587"/>
              <a:gd name="connsiteY27" fmla="*/ 371079 h 6858000"/>
              <a:gd name="connsiteX28" fmla="*/ 5517718 w 6097587"/>
              <a:gd name="connsiteY28" fmla="*/ 371079 h 6858000"/>
              <a:gd name="connsiteX29" fmla="*/ 5521448 w 6097587"/>
              <a:gd name="connsiteY29" fmla="*/ 369105 h 6858000"/>
              <a:gd name="connsiteX30" fmla="*/ 5524983 w 6097587"/>
              <a:gd name="connsiteY30" fmla="*/ 358261 h 6858000"/>
              <a:gd name="connsiteX31" fmla="*/ 5525178 w 6097587"/>
              <a:gd name="connsiteY31" fmla="*/ 357806 h 6858000"/>
              <a:gd name="connsiteX32" fmla="*/ 5521253 w 6097587"/>
              <a:gd name="connsiteY32" fmla="*/ 355377 h 6858000"/>
              <a:gd name="connsiteX33" fmla="*/ 5471371 w 6097587"/>
              <a:gd name="connsiteY33" fmla="*/ 355377 h 6858000"/>
              <a:gd name="connsiteX34" fmla="*/ 5471371 w 6097587"/>
              <a:gd name="connsiteY34" fmla="*/ 345162 h 6858000"/>
              <a:gd name="connsiteX35" fmla="*/ 5504206 w 6097587"/>
              <a:gd name="connsiteY35" fmla="*/ 345162 h 6858000"/>
              <a:gd name="connsiteX36" fmla="*/ 5508023 w 6097587"/>
              <a:gd name="connsiteY36" fmla="*/ 342993 h 6858000"/>
              <a:gd name="connsiteX37" fmla="*/ 5511667 w 6097587"/>
              <a:gd name="connsiteY37" fmla="*/ 331976 h 6858000"/>
              <a:gd name="connsiteX38" fmla="*/ 5511667 w 6097587"/>
              <a:gd name="connsiteY38" fmla="*/ 331781 h 6858000"/>
              <a:gd name="connsiteX39" fmla="*/ 5507828 w 6097587"/>
              <a:gd name="connsiteY39" fmla="*/ 329265 h 6858000"/>
              <a:gd name="connsiteX40" fmla="*/ 5471436 w 6097587"/>
              <a:gd name="connsiteY40" fmla="*/ 329265 h 6858000"/>
              <a:gd name="connsiteX41" fmla="*/ 5471436 w 6097587"/>
              <a:gd name="connsiteY41" fmla="*/ 319006 h 6858000"/>
              <a:gd name="connsiteX42" fmla="*/ 5521318 w 6097587"/>
              <a:gd name="connsiteY42" fmla="*/ 319006 h 6858000"/>
              <a:gd name="connsiteX43" fmla="*/ 5525243 w 6097587"/>
              <a:gd name="connsiteY43" fmla="*/ 316577 h 6858000"/>
              <a:gd name="connsiteX44" fmla="*/ 5525048 w 6097587"/>
              <a:gd name="connsiteY44" fmla="*/ 316014 h 6858000"/>
              <a:gd name="connsiteX45" fmla="*/ 5521513 w 6097587"/>
              <a:gd name="connsiteY45" fmla="*/ 305170 h 6858000"/>
              <a:gd name="connsiteX46" fmla="*/ 5517783 w 6097587"/>
              <a:gd name="connsiteY46" fmla="*/ 303283 h 6858000"/>
              <a:gd name="connsiteX47" fmla="*/ 5542810 w 6097587"/>
              <a:gd name="connsiteY47" fmla="*/ 303218 h 6858000"/>
              <a:gd name="connsiteX48" fmla="*/ 5539080 w 6097587"/>
              <a:gd name="connsiteY48" fmla="*/ 305387 h 6858000"/>
              <a:gd name="connsiteX49" fmla="*/ 5539080 w 6097587"/>
              <a:gd name="connsiteY49" fmla="*/ 368953 h 6858000"/>
              <a:gd name="connsiteX50" fmla="*/ 5542810 w 6097587"/>
              <a:gd name="connsiteY50" fmla="*/ 371296 h 6858000"/>
              <a:gd name="connsiteX51" fmla="*/ 5554283 w 6097587"/>
              <a:gd name="connsiteY51" fmla="*/ 371296 h 6858000"/>
              <a:gd name="connsiteX52" fmla="*/ 5558013 w 6097587"/>
              <a:gd name="connsiteY52" fmla="*/ 368953 h 6858000"/>
              <a:gd name="connsiteX53" fmla="*/ 5558013 w 6097587"/>
              <a:gd name="connsiteY53" fmla="*/ 346658 h 6858000"/>
              <a:gd name="connsiteX54" fmla="*/ 5575949 w 6097587"/>
              <a:gd name="connsiteY54" fmla="*/ 346658 h 6858000"/>
              <a:gd name="connsiteX55" fmla="*/ 5598157 w 6097587"/>
              <a:gd name="connsiteY55" fmla="*/ 370255 h 6858000"/>
              <a:gd name="connsiteX56" fmla="*/ 5601324 w 6097587"/>
              <a:gd name="connsiteY56" fmla="*/ 371382 h 6858000"/>
              <a:gd name="connsiteX57" fmla="*/ 5616093 w 6097587"/>
              <a:gd name="connsiteY57" fmla="*/ 371382 h 6858000"/>
              <a:gd name="connsiteX58" fmla="*/ 5619715 w 6097587"/>
              <a:gd name="connsiteY58" fmla="*/ 369214 h 6858000"/>
              <a:gd name="connsiteX59" fmla="*/ 5619259 w 6097587"/>
              <a:gd name="connsiteY59" fmla="*/ 368086 h 6858000"/>
              <a:gd name="connsiteX60" fmla="*/ 5618414 w 6097587"/>
              <a:gd name="connsiteY60" fmla="*/ 367153 h 6858000"/>
              <a:gd name="connsiteX61" fmla="*/ 5615898 w 6097587"/>
              <a:gd name="connsiteY61" fmla="*/ 364356 h 6858000"/>
              <a:gd name="connsiteX62" fmla="*/ 5608155 w 6097587"/>
              <a:gd name="connsiteY62" fmla="*/ 356331 h 6858000"/>
              <a:gd name="connsiteX63" fmla="*/ 5600391 w 6097587"/>
              <a:gd name="connsiteY63" fmla="*/ 348198 h 6858000"/>
              <a:gd name="connsiteX64" fmla="*/ 5598721 w 6097587"/>
              <a:gd name="connsiteY64" fmla="*/ 346333 h 6858000"/>
              <a:gd name="connsiteX65" fmla="*/ 5617936 w 6097587"/>
              <a:gd name="connsiteY65" fmla="*/ 325817 h 6858000"/>
              <a:gd name="connsiteX66" fmla="*/ 5593950 w 6097587"/>
              <a:gd name="connsiteY66" fmla="*/ 303218 h 6858000"/>
              <a:gd name="connsiteX67" fmla="*/ 5137206 w 6097587"/>
              <a:gd name="connsiteY67" fmla="*/ 303109 h 6858000"/>
              <a:gd name="connsiteX68" fmla="*/ 5133281 w 6097587"/>
              <a:gd name="connsiteY68" fmla="*/ 305625 h 6858000"/>
              <a:gd name="connsiteX69" fmla="*/ 5133281 w 6097587"/>
              <a:gd name="connsiteY69" fmla="*/ 368910 h 6858000"/>
              <a:gd name="connsiteX70" fmla="*/ 5137206 w 6097587"/>
              <a:gd name="connsiteY70" fmla="*/ 371339 h 6858000"/>
              <a:gd name="connsiteX71" fmla="*/ 5148311 w 6097587"/>
              <a:gd name="connsiteY71" fmla="*/ 371339 h 6858000"/>
              <a:gd name="connsiteX72" fmla="*/ 5152236 w 6097587"/>
              <a:gd name="connsiteY72" fmla="*/ 368910 h 6858000"/>
              <a:gd name="connsiteX73" fmla="*/ 5152236 w 6097587"/>
              <a:gd name="connsiteY73" fmla="*/ 348198 h 6858000"/>
              <a:gd name="connsiteX74" fmla="*/ 5187760 w 6097587"/>
              <a:gd name="connsiteY74" fmla="*/ 348219 h 6858000"/>
              <a:gd name="connsiteX75" fmla="*/ 5212116 w 6097587"/>
              <a:gd name="connsiteY75" fmla="*/ 326532 h 6858000"/>
              <a:gd name="connsiteX76" fmla="*/ 5212116 w 6097587"/>
              <a:gd name="connsiteY76" fmla="*/ 326163 h 6858000"/>
              <a:gd name="connsiteX77" fmla="*/ 5188129 w 6097587"/>
              <a:gd name="connsiteY77" fmla="*/ 303109 h 6858000"/>
              <a:gd name="connsiteX78" fmla="*/ 5323873 w 6097587"/>
              <a:gd name="connsiteY78" fmla="*/ 303088 h 6858000"/>
              <a:gd name="connsiteX79" fmla="*/ 5320316 w 6097587"/>
              <a:gd name="connsiteY79" fmla="*/ 305257 h 6858000"/>
              <a:gd name="connsiteX80" fmla="*/ 5320424 w 6097587"/>
              <a:gd name="connsiteY80" fmla="*/ 305907 h 6858000"/>
              <a:gd name="connsiteX81" fmla="*/ 5349985 w 6097587"/>
              <a:gd name="connsiteY81" fmla="*/ 369951 h 6858000"/>
              <a:gd name="connsiteX82" fmla="*/ 5351763 w 6097587"/>
              <a:gd name="connsiteY82" fmla="*/ 371361 h 6858000"/>
              <a:gd name="connsiteX83" fmla="*/ 5352501 w 6097587"/>
              <a:gd name="connsiteY83" fmla="*/ 371534 h 6858000"/>
              <a:gd name="connsiteX84" fmla="*/ 5362217 w 6097587"/>
              <a:gd name="connsiteY84" fmla="*/ 371534 h 6858000"/>
              <a:gd name="connsiteX85" fmla="*/ 5365665 w 6097587"/>
              <a:gd name="connsiteY85" fmla="*/ 369864 h 6858000"/>
              <a:gd name="connsiteX86" fmla="*/ 5380413 w 6097587"/>
              <a:gd name="connsiteY86" fmla="*/ 334383 h 6858000"/>
              <a:gd name="connsiteX87" fmla="*/ 5395074 w 6097587"/>
              <a:gd name="connsiteY87" fmla="*/ 369864 h 6858000"/>
              <a:gd name="connsiteX88" fmla="*/ 5396093 w 6097587"/>
              <a:gd name="connsiteY88" fmla="*/ 370992 h 6858000"/>
              <a:gd name="connsiteX89" fmla="*/ 5397134 w 6097587"/>
              <a:gd name="connsiteY89" fmla="*/ 371534 h 6858000"/>
              <a:gd name="connsiteX90" fmla="*/ 5407392 w 6097587"/>
              <a:gd name="connsiteY90" fmla="*/ 371534 h 6858000"/>
              <a:gd name="connsiteX91" fmla="*/ 5410841 w 6097587"/>
              <a:gd name="connsiteY91" fmla="*/ 369951 h 6858000"/>
              <a:gd name="connsiteX92" fmla="*/ 5440444 w 6097587"/>
              <a:gd name="connsiteY92" fmla="*/ 306016 h 6858000"/>
              <a:gd name="connsiteX93" fmla="*/ 5440444 w 6097587"/>
              <a:gd name="connsiteY93" fmla="*/ 305365 h 6858000"/>
              <a:gd name="connsiteX94" fmla="*/ 5436909 w 6097587"/>
              <a:gd name="connsiteY94" fmla="*/ 303196 h 6858000"/>
              <a:gd name="connsiteX95" fmla="*/ 5423072 w 6097587"/>
              <a:gd name="connsiteY95" fmla="*/ 303196 h 6858000"/>
              <a:gd name="connsiteX96" fmla="*/ 5422335 w 6097587"/>
              <a:gd name="connsiteY96" fmla="*/ 303391 h 6858000"/>
              <a:gd name="connsiteX97" fmla="*/ 5420470 w 6097587"/>
              <a:gd name="connsiteY97" fmla="*/ 304779 h 6858000"/>
              <a:gd name="connsiteX98" fmla="*/ 5403488 w 6097587"/>
              <a:gd name="connsiteY98" fmla="*/ 341649 h 6858000"/>
              <a:gd name="connsiteX99" fmla="*/ 5390454 w 6097587"/>
              <a:gd name="connsiteY99" fmla="*/ 309724 h 6858000"/>
              <a:gd name="connsiteX100" fmla="*/ 5388285 w 6097587"/>
              <a:gd name="connsiteY100" fmla="*/ 304779 h 6858000"/>
              <a:gd name="connsiteX101" fmla="*/ 5384837 w 6097587"/>
              <a:gd name="connsiteY101" fmla="*/ 303088 h 6858000"/>
              <a:gd name="connsiteX102" fmla="*/ 5376162 w 6097587"/>
              <a:gd name="connsiteY102" fmla="*/ 303088 h 6858000"/>
              <a:gd name="connsiteX103" fmla="*/ 5372713 w 6097587"/>
              <a:gd name="connsiteY103" fmla="*/ 304779 h 6858000"/>
              <a:gd name="connsiteX104" fmla="*/ 5370545 w 6097587"/>
              <a:gd name="connsiteY104" fmla="*/ 309724 h 6858000"/>
              <a:gd name="connsiteX105" fmla="*/ 5357294 w 6097587"/>
              <a:gd name="connsiteY105" fmla="*/ 341540 h 6858000"/>
              <a:gd name="connsiteX106" fmla="*/ 5340204 w 6097587"/>
              <a:gd name="connsiteY106" fmla="*/ 304671 h 6858000"/>
              <a:gd name="connsiteX107" fmla="*/ 5336755 w 6097587"/>
              <a:gd name="connsiteY107" fmla="*/ 303088 h 6858000"/>
              <a:gd name="connsiteX108" fmla="*/ 5269307 w 6097587"/>
              <a:gd name="connsiteY108" fmla="*/ 301700 h 6858000"/>
              <a:gd name="connsiteX109" fmla="*/ 5250547 w 6097587"/>
              <a:gd name="connsiteY109" fmla="*/ 305062 h 6858000"/>
              <a:gd name="connsiteX110" fmla="*/ 5224695 w 6097587"/>
              <a:gd name="connsiteY110" fmla="*/ 337268 h 6858000"/>
              <a:gd name="connsiteX111" fmla="*/ 5269307 w 6097587"/>
              <a:gd name="connsiteY111" fmla="*/ 372836 h 6858000"/>
              <a:gd name="connsiteX112" fmla="*/ 5310752 w 6097587"/>
              <a:gd name="connsiteY112" fmla="*/ 351452 h 6858000"/>
              <a:gd name="connsiteX113" fmla="*/ 5314027 w 6097587"/>
              <a:gd name="connsiteY113" fmla="*/ 337268 h 6858000"/>
              <a:gd name="connsiteX114" fmla="*/ 5269307 w 6097587"/>
              <a:gd name="connsiteY114" fmla="*/ 301700 h 6858000"/>
              <a:gd name="connsiteX115" fmla="*/ 5377377 w 6097587"/>
              <a:gd name="connsiteY115" fmla="*/ 248738 h 6858000"/>
              <a:gd name="connsiteX116" fmla="*/ 5377377 w 6097587"/>
              <a:gd name="connsiteY116" fmla="*/ 248912 h 6858000"/>
              <a:gd name="connsiteX117" fmla="*/ 5374774 w 6097587"/>
              <a:gd name="connsiteY117" fmla="*/ 248912 h 6858000"/>
              <a:gd name="connsiteX118" fmla="*/ 5377377 w 6097587"/>
              <a:gd name="connsiteY118" fmla="*/ 248738 h 6858000"/>
              <a:gd name="connsiteX119" fmla="*/ 5711563 w 6097587"/>
              <a:gd name="connsiteY119" fmla="*/ 226898 h 6858000"/>
              <a:gd name="connsiteX120" fmla="*/ 5721647 w 6097587"/>
              <a:gd name="connsiteY120" fmla="*/ 246678 h 6858000"/>
              <a:gd name="connsiteX121" fmla="*/ 5701413 w 6097587"/>
              <a:gd name="connsiteY121" fmla="*/ 246678 h 6858000"/>
              <a:gd name="connsiteX122" fmla="*/ 5702736 w 6097587"/>
              <a:gd name="connsiteY122" fmla="*/ 244357 h 6858000"/>
              <a:gd name="connsiteX123" fmla="*/ 5707073 w 6097587"/>
              <a:gd name="connsiteY123" fmla="*/ 235573 h 6858000"/>
              <a:gd name="connsiteX124" fmla="*/ 5711563 w 6097587"/>
              <a:gd name="connsiteY124" fmla="*/ 226898 h 6858000"/>
              <a:gd name="connsiteX125" fmla="*/ 5338469 w 6097587"/>
              <a:gd name="connsiteY125" fmla="*/ 221195 h 6858000"/>
              <a:gd name="connsiteX126" fmla="*/ 5374406 w 6097587"/>
              <a:gd name="connsiteY126" fmla="*/ 221195 h 6858000"/>
              <a:gd name="connsiteX127" fmla="*/ 5379437 w 6097587"/>
              <a:gd name="connsiteY127" fmla="*/ 228005 h 6858000"/>
              <a:gd name="connsiteX128" fmla="*/ 5379439 w 6097587"/>
              <a:gd name="connsiteY128" fmla="*/ 228203 h 6858000"/>
              <a:gd name="connsiteX129" fmla="*/ 5374406 w 6097587"/>
              <a:gd name="connsiteY129" fmla="*/ 233145 h 6858000"/>
              <a:gd name="connsiteX130" fmla="*/ 5338469 w 6097587"/>
              <a:gd name="connsiteY130" fmla="*/ 233145 h 6858000"/>
              <a:gd name="connsiteX131" fmla="*/ 5870229 w 6097587"/>
              <a:gd name="connsiteY131" fmla="*/ 221173 h 6858000"/>
              <a:gd name="connsiteX132" fmla="*/ 5889553 w 6097587"/>
              <a:gd name="connsiteY132" fmla="*/ 221195 h 6858000"/>
              <a:gd name="connsiteX133" fmla="*/ 5914667 w 6097587"/>
              <a:gd name="connsiteY133" fmla="*/ 239586 h 6858000"/>
              <a:gd name="connsiteX134" fmla="*/ 5889553 w 6097587"/>
              <a:gd name="connsiteY134" fmla="*/ 257869 h 6858000"/>
              <a:gd name="connsiteX135" fmla="*/ 5870229 w 6097587"/>
              <a:gd name="connsiteY135" fmla="*/ 257869 h 6858000"/>
              <a:gd name="connsiteX136" fmla="*/ 5264883 w 6097587"/>
              <a:gd name="connsiteY136" fmla="*/ 219785 h 6858000"/>
              <a:gd name="connsiteX137" fmla="*/ 5290647 w 6097587"/>
              <a:gd name="connsiteY137" fmla="*/ 239499 h 6858000"/>
              <a:gd name="connsiteX138" fmla="*/ 5288479 w 6097587"/>
              <a:gd name="connsiteY138" fmla="*/ 247328 h 6858000"/>
              <a:gd name="connsiteX139" fmla="*/ 5264948 w 6097587"/>
              <a:gd name="connsiteY139" fmla="*/ 259278 h 6858000"/>
              <a:gd name="connsiteX140" fmla="*/ 5239269 w 6097587"/>
              <a:gd name="connsiteY140" fmla="*/ 239499 h 6858000"/>
              <a:gd name="connsiteX141" fmla="*/ 5241547 w 6097587"/>
              <a:gd name="connsiteY141" fmla="*/ 231084 h 6858000"/>
              <a:gd name="connsiteX142" fmla="*/ 5264883 w 6097587"/>
              <a:gd name="connsiteY142" fmla="*/ 219785 h 6858000"/>
              <a:gd name="connsiteX143" fmla="*/ 5704796 w 6097587"/>
              <a:gd name="connsiteY143" fmla="*/ 205536 h 6858000"/>
              <a:gd name="connsiteX144" fmla="*/ 5701044 w 6097587"/>
              <a:gd name="connsiteY144" fmla="*/ 207206 h 6858000"/>
              <a:gd name="connsiteX145" fmla="*/ 5668512 w 6097587"/>
              <a:gd name="connsiteY145" fmla="*/ 270491 h 6858000"/>
              <a:gd name="connsiteX146" fmla="*/ 5668339 w 6097587"/>
              <a:gd name="connsiteY146" fmla="*/ 271336 h 6858000"/>
              <a:gd name="connsiteX147" fmla="*/ 5672264 w 6097587"/>
              <a:gd name="connsiteY147" fmla="*/ 273766 h 6858000"/>
              <a:gd name="connsiteX148" fmla="*/ 5684757 w 6097587"/>
              <a:gd name="connsiteY148" fmla="*/ 273766 h 6858000"/>
              <a:gd name="connsiteX149" fmla="*/ 5688508 w 6097587"/>
              <a:gd name="connsiteY149" fmla="*/ 271987 h 6858000"/>
              <a:gd name="connsiteX150" fmla="*/ 5693453 w 6097587"/>
              <a:gd name="connsiteY150" fmla="*/ 262379 h 6858000"/>
              <a:gd name="connsiteX151" fmla="*/ 5729737 w 6097587"/>
              <a:gd name="connsiteY151" fmla="*/ 262379 h 6858000"/>
              <a:gd name="connsiteX152" fmla="*/ 5734877 w 6097587"/>
              <a:gd name="connsiteY152" fmla="*/ 271987 h 6858000"/>
              <a:gd name="connsiteX153" fmla="*/ 5738607 w 6097587"/>
              <a:gd name="connsiteY153" fmla="*/ 273766 h 6858000"/>
              <a:gd name="connsiteX154" fmla="*/ 5751121 w 6097587"/>
              <a:gd name="connsiteY154" fmla="*/ 273766 h 6858000"/>
              <a:gd name="connsiteX155" fmla="*/ 5754678 w 6097587"/>
              <a:gd name="connsiteY155" fmla="*/ 272182 h 6858000"/>
              <a:gd name="connsiteX156" fmla="*/ 5754678 w 6097587"/>
              <a:gd name="connsiteY156" fmla="*/ 270491 h 6858000"/>
              <a:gd name="connsiteX157" fmla="*/ 5722146 w 6097587"/>
              <a:gd name="connsiteY157" fmla="*/ 207206 h 6858000"/>
              <a:gd name="connsiteX158" fmla="*/ 5718416 w 6097587"/>
              <a:gd name="connsiteY158" fmla="*/ 205536 h 6858000"/>
              <a:gd name="connsiteX159" fmla="*/ 5323244 w 6097587"/>
              <a:gd name="connsiteY159" fmla="*/ 205493 h 6858000"/>
              <a:gd name="connsiteX160" fmla="*/ 5319514 w 6097587"/>
              <a:gd name="connsiteY160" fmla="*/ 207662 h 6858000"/>
              <a:gd name="connsiteX161" fmla="*/ 5319514 w 6097587"/>
              <a:gd name="connsiteY161" fmla="*/ 271228 h 6858000"/>
              <a:gd name="connsiteX162" fmla="*/ 5323244 w 6097587"/>
              <a:gd name="connsiteY162" fmla="*/ 273549 h 6858000"/>
              <a:gd name="connsiteX163" fmla="*/ 5334717 w 6097587"/>
              <a:gd name="connsiteY163" fmla="*/ 273549 h 6858000"/>
              <a:gd name="connsiteX164" fmla="*/ 5338469 w 6097587"/>
              <a:gd name="connsiteY164" fmla="*/ 271228 h 6858000"/>
              <a:gd name="connsiteX165" fmla="*/ 5338469 w 6097587"/>
              <a:gd name="connsiteY165" fmla="*/ 248912 h 6858000"/>
              <a:gd name="connsiteX166" fmla="*/ 5356383 w 6097587"/>
              <a:gd name="connsiteY166" fmla="*/ 248912 h 6858000"/>
              <a:gd name="connsiteX167" fmla="*/ 5378591 w 6097587"/>
              <a:gd name="connsiteY167" fmla="*/ 272551 h 6858000"/>
              <a:gd name="connsiteX168" fmla="*/ 5381779 w 6097587"/>
              <a:gd name="connsiteY168" fmla="*/ 273657 h 6858000"/>
              <a:gd name="connsiteX169" fmla="*/ 5396527 w 6097587"/>
              <a:gd name="connsiteY169" fmla="*/ 273657 h 6858000"/>
              <a:gd name="connsiteX170" fmla="*/ 5400171 w 6097587"/>
              <a:gd name="connsiteY170" fmla="*/ 271489 h 6858000"/>
              <a:gd name="connsiteX171" fmla="*/ 5399693 w 6097587"/>
              <a:gd name="connsiteY171" fmla="*/ 270361 h 6858000"/>
              <a:gd name="connsiteX172" fmla="*/ 5398848 w 6097587"/>
              <a:gd name="connsiteY172" fmla="*/ 269428 h 6858000"/>
              <a:gd name="connsiteX173" fmla="*/ 5396332 w 6097587"/>
              <a:gd name="connsiteY173" fmla="*/ 266631 h 6858000"/>
              <a:gd name="connsiteX174" fmla="*/ 5388589 w 6097587"/>
              <a:gd name="connsiteY174" fmla="*/ 258606 h 6858000"/>
              <a:gd name="connsiteX175" fmla="*/ 5380847 w 6097587"/>
              <a:gd name="connsiteY175" fmla="*/ 250473 h 6858000"/>
              <a:gd name="connsiteX176" fmla="*/ 5379155 w 6097587"/>
              <a:gd name="connsiteY176" fmla="*/ 248608 h 6858000"/>
              <a:gd name="connsiteX177" fmla="*/ 5398392 w 6097587"/>
              <a:gd name="connsiteY177" fmla="*/ 228070 h 6858000"/>
              <a:gd name="connsiteX178" fmla="*/ 5374406 w 6097587"/>
              <a:gd name="connsiteY178" fmla="*/ 205493 h 6858000"/>
              <a:gd name="connsiteX179" fmla="*/ 5824555 w 6097587"/>
              <a:gd name="connsiteY179" fmla="*/ 205472 h 6858000"/>
              <a:gd name="connsiteX180" fmla="*/ 5820911 w 6097587"/>
              <a:gd name="connsiteY180" fmla="*/ 206860 h 6858000"/>
              <a:gd name="connsiteX181" fmla="*/ 5820434 w 6097587"/>
              <a:gd name="connsiteY181" fmla="*/ 208074 h 6858000"/>
              <a:gd name="connsiteX182" fmla="*/ 5820434 w 6097587"/>
              <a:gd name="connsiteY182" fmla="*/ 246071 h 6858000"/>
              <a:gd name="connsiteX183" fmla="*/ 5778794 w 6097587"/>
              <a:gd name="connsiteY183" fmla="*/ 206664 h 6858000"/>
              <a:gd name="connsiteX184" fmla="*/ 5775432 w 6097587"/>
              <a:gd name="connsiteY184" fmla="*/ 205558 h 6858000"/>
              <a:gd name="connsiteX185" fmla="*/ 5766280 w 6097587"/>
              <a:gd name="connsiteY185" fmla="*/ 205558 h 6858000"/>
              <a:gd name="connsiteX186" fmla="*/ 5762636 w 6097587"/>
              <a:gd name="connsiteY186" fmla="*/ 206946 h 6858000"/>
              <a:gd name="connsiteX187" fmla="*/ 5762181 w 6097587"/>
              <a:gd name="connsiteY187" fmla="*/ 208161 h 6858000"/>
              <a:gd name="connsiteX188" fmla="*/ 5762181 w 6097587"/>
              <a:gd name="connsiteY188" fmla="*/ 271055 h 6858000"/>
              <a:gd name="connsiteX189" fmla="*/ 5762636 w 6097587"/>
              <a:gd name="connsiteY189" fmla="*/ 272270 h 6858000"/>
              <a:gd name="connsiteX190" fmla="*/ 5766280 w 6097587"/>
              <a:gd name="connsiteY190" fmla="*/ 273658 h 6858000"/>
              <a:gd name="connsiteX191" fmla="*/ 5776929 w 6097587"/>
              <a:gd name="connsiteY191" fmla="*/ 273658 h 6858000"/>
              <a:gd name="connsiteX192" fmla="*/ 5781136 w 6097587"/>
              <a:gd name="connsiteY192" fmla="*/ 271055 h 6858000"/>
              <a:gd name="connsiteX193" fmla="*/ 5781136 w 6097587"/>
              <a:gd name="connsiteY193" fmla="*/ 232668 h 6858000"/>
              <a:gd name="connsiteX194" fmla="*/ 5823189 w 6097587"/>
              <a:gd name="connsiteY194" fmla="*/ 272552 h 6858000"/>
              <a:gd name="connsiteX195" fmla="*/ 5826637 w 6097587"/>
              <a:gd name="connsiteY195" fmla="*/ 273658 h 6858000"/>
              <a:gd name="connsiteX196" fmla="*/ 5835312 w 6097587"/>
              <a:gd name="connsiteY196" fmla="*/ 273658 h 6858000"/>
              <a:gd name="connsiteX197" fmla="*/ 5839042 w 6097587"/>
              <a:gd name="connsiteY197" fmla="*/ 272183 h 6858000"/>
              <a:gd name="connsiteX198" fmla="*/ 5839498 w 6097587"/>
              <a:gd name="connsiteY198" fmla="*/ 270968 h 6858000"/>
              <a:gd name="connsiteX199" fmla="*/ 5839498 w 6097587"/>
              <a:gd name="connsiteY199" fmla="*/ 208074 h 6858000"/>
              <a:gd name="connsiteX200" fmla="*/ 5839021 w 6097587"/>
              <a:gd name="connsiteY200" fmla="*/ 206860 h 6858000"/>
              <a:gd name="connsiteX201" fmla="*/ 5835399 w 6097587"/>
              <a:gd name="connsiteY201" fmla="*/ 205472 h 6858000"/>
              <a:gd name="connsiteX202" fmla="*/ 5195546 w 6097587"/>
              <a:gd name="connsiteY202" fmla="*/ 205472 h 6858000"/>
              <a:gd name="connsiteX203" fmla="*/ 5191903 w 6097587"/>
              <a:gd name="connsiteY203" fmla="*/ 206860 h 6858000"/>
              <a:gd name="connsiteX204" fmla="*/ 5191426 w 6097587"/>
              <a:gd name="connsiteY204" fmla="*/ 208074 h 6858000"/>
              <a:gd name="connsiteX205" fmla="*/ 5191534 w 6097587"/>
              <a:gd name="connsiteY205" fmla="*/ 246071 h 6858000"/>
              <a:gd name="connsiteX206" fmla="*/ 5149894 w 6097587"/>
              <a:gd name="connsiteY206" fmla="*/ 206664 h 6858000"/>
              <a:gd name="connsiteX207" fmla="*/ 5146532 w 6097587"/>
              <a:gd name="connsiteY207" fmla="*/ 205558 h 6858000"/>
              <a:gd name="connsiteX208" fmla="*/ 5137380 w 6097587"/>
              <a:gd name="connsiteY208" fmla="*/ 205558 h 6858000"/>
              <a:gd name="connsiteX209" fmla="*/ 5133736 w 6097587"/>
              <a:gd name="connsiteY209" fmla="*/ 206946 h 6858000"/>
              <a:gd name="connsiteX210" fmla="*/ 5133281 w 6097587"/>
              <a:gd name="connsiteY210" fmla="*/ 208161 h 6858000"/>
              <a:gd name="connsiteX211" fmla="*/ 5133281 w 6097587"/>
              <a:gd name="connsiteY211" fmla="*/ 271055 h 6858000"/>
              <a:gd name="connsiteX212" fmla="*/ 5133736 w 6097587"/>
              <a:gd name="connsiteY212" fmla="*/ 272270 h 6858000"/>
              <a:gd name="connsiteX213" fmla="*/ 5137380 w 6097587"/>
              <a:gd name="connsiteY213" fmla="*/ 273658 h 6858000"/>
              <a:gd name="connsiteX214" fmla="*/ 5148029 w 6097587"/>
              <a:gd name="connsiteY214" fmla="*/ 273658 h 6858000"/>
              <a:gd name="connsiteX215" fmla="*/ 5152236 w 6097587"/>
              <a:gd name="connsiteY215" fmla="*/ 271055 h 6858000"/>
              <a:gd name="connsiteX216" fmla="*/ 5152236 w 6097587"/>
              <a:gd name="connsiteY216" fmla="*/ 232668 h 6858000"/>
              <a:gd name="connsiteX217" fmla="*/ 5194072 w 6097587"/>
              <a:gd name="connsiteY217" fmla="*/ 272552 h 6858000"/>
              <a:gd name="connsiteX218" fmla="*/ 5197520 w 6097587"/>
              <a:gd name="connsiteY218" fmla="*/ 273658 h 6858000"/>
              <a:gd name="connsiteX219" fmla="*/ 5206195 w 6097587"/>
              <a:gd name="connsiteY219" fmla="*/ 273658 h 6858000"/>
              <a:gd name="connsiteX220" fmla="*/ 5209925 w 6097587"/>
              <a:gd name="connsiteY220" fmla="*/ 272183 h 6858000"/>
              <a:gd name="connsiteX221" fmla="*/ 5210381 w 6097587"/>
              <a:gd name="connsiteY221" fmla="*/ 270969 h 6858000"/>
              <a:gd name="connsiteX222" fmla="*/ 5210381 w 6097587"/>
              <a:gd name="connsiteY222" fmla="*/ 208074 h 6858000"/>
              <a:gd name="connsiteX223" fmla="*/ 5209925 w 6097587"/>
              <a:gd name="connsiteY223" fmla="*/ 206860 h 6858000"/>
              <a:gd name="connsiteX224" fmla="*/ 5206282 w 6097587"/>
              <a:gd name="connsiteY224" fmla="*/ 205472 h 6858000"/>
              <a:gd name="connsiteX225" fmla="*/ 5856110 w 6097587"/>
              <a:gd name="connsiteY225" fmla="*/ 205428 h 6858000"/>
              <a:gd name="connsiteX226" fmla="*/ 5851339 w 6097587"/>
              <a:gd name="connsiteY226" fmla="*/ 208681 h 6858000"/>
              <a:gd name="connsiteX227" fmla="*/ 5851339 w 6097587"/>
              <a:gd name="connsiteY227" fmla="*/ 270383 h 6858000"/>
              <a:gd name="connsiteX228" fmla="*/ 5856110 w 6097587"/>
              <a:gd name="connsiteY228" fmla="*/ 273657 h 6858000"/>
              <a:gd name="connsiteX229" fmla="*/ 5889618 w 6097587"/>
              <a:gd name="connsiteY229" fmla="*/ 273657 h 6858000"/>
              <a:gd name="connsiteX230" fmla="*/ 5933579 w 6097587"/>
              <a:gd name="connsiteY230" fmla="*/ 239586 h 6858000"/>
              <a:gd name="connsiteX231" fmla="*/ 5889618 w 6097587"/>
              <a:gd name="connsiteY231" fmla="*/ 205428 h 6858000"/>
              <a:gd name="connsiteX232" fmla="*/ 5596119 w 6097587"/>
              <a:gd name="connsiteY232" fmla="*/ 205428 h 6858000"/>
              <a:gd name="connsiteX233" fmla="*/ 5592562 w 6097587"/>
              <a:gd name="connsiteY233" fmla="*/ 206816 h 6858000"/>
              <a:gd name="connsiteX234" fmla="*/ 5592085 w 6097587"/>
              <a:gd name="connsiteY234" fmla="*/ 207944 h 6858000"/>
              <a:gd name="connsiteX235" fmla="*/ 5592085 w 6097587"/>
              <a:gd name="connsiteY235" fmla="*/ 271033 h 6858000"/>
              <a:gd name="connsiteX236" fmla="*/ 5592562 w 6097587"/>
              <a:gd name="connsiteY236" fmla="*/ 272161 h 6858000"/>
              <a:gd name="connsiteX237" fmla="*/ 5596119 w 6097587"/>
              <a:gd name="connsiteY237" fmla="*/ 273549 h 6858000"/>
              <a:gd name="connsiteX238" fmla="*/ 5656497 w 6097587"/>
              <a:gd name="connsiteY238" fmla="*/ 273549 h 6858000"/>
              <a:gd name="connsiteX239" fmla="*/ 5660141 w 6097587"/>
              <a:gd name="connsiteY239" fmla="*/ 271792 h 6858000"/>
              <a:gd name="connsiteX240" fmla="*/ 5663871 w 6097587"/>
              <a:gd name="connsiteY240" fmla="*/ 260493 h 6858000"/>
              <a:gd name="connsiteX241" fmla="*/ 5663871 w 6097587"/>
              <a:gd name="connsiteY241" fmla="*/ 260211 h 6858000"/>
              <a:gd name="connsiteX242" fmla="*/ 5660141 w 6097587"/>
              <a:gd name="connsiteY242" fmla="*/ 257782 h 6858000"/>
              <a:gd name="connsiteX243" fmla="*/ 5611040 w 6097587"/>
              <a:gd name="connsiteY243" fmla="*/ 257782 h 6858000"/>
              <a:gd name="connsiteX244" fmla="*/ 5610975 w 6097587"/>
              <a:gd name="connsiteY244" fmla="*/ 207944 h 6858000"/>
              <a:gd name="connsiteX245" fmla="*/ 5610520 w 6097587"/>
              <a:gd name="connsiteY245" fmla="*/ 206816 h 6858000"/>
              <a:gd name="connsiteX246" fmla="*/ 5606963 w 6097587"/>
              <a:gd name="connsiteY246" fmla="*/ 205428 h 6858000"/>
              <a:gd name="connsiteX247" fmla="*/ 5506895 w 6097587"/>
              <a:gd name="connsiteY247" fmla="*/ 205428 h 6858000"/>
              <a:gd name="connsiteX248" fmla="*/ 5503360 w 6097587"/>
              <a:gd name="connsiteY248" fmla="*/ 206816 h 6858000"/>
              <a:gd name="connsiteX249" fmla="*/ 5502883 w 6097587"/>
              <a:gd name="connsiteY249" fmla="*/ 207944 h 6858000"/>
              <a:gd name="connsiteX250" fmla="*/ 5502883 w 6097587"/>
              <a:gd name="connsiteY250" fmla="*/ 271033 h 6858000"/>
              <a:gd name="connsiteX251" fmla="*/ 5503252 w 6097587"/>
              <a:gd name="connsiteY251" fmla="*/ 272161 h 6858000"/>
              <a:gd name="connsiteX252" fmla="*/ 5506895 w 6097587"/>
              <a:gd name="connsiteY252" fmla="*/ 273657 h 6858000"/>
              <a:gd name="connsiteX253" fmla="*/ 5517739 w 6097587"/>
              <a:gd name="connsiteY253" fmla="*/ 273657 h 6858000"/>
              <a:gd name="connsiteX254" fmla="*/ 5521383 w 6097587"/>
              <a:gd name="connsiteY254" fmla="*/ 272248 h 6858000"/>
              <a:gd name="connsiteX255" fmla="*/ 5521860 w 6097587"/>
              <a:gd name="connsiteY255" fmla="*/ 271033 h 6858000"/>
              <a:gd name="connsiteX256" fmla="*/ 5521860 w 6097587"/>
              <a:gd name="connsiteY256" fmla="*/ 247415 h 6858000"/>
              <a:gd name="connsiteX257" fmla="*/ 5561331 w 6097587"/>
              <a:gd name="connsiteY257" fmla="*/ 247415 h 6858000"/>
              <a:gd name="connsiteX258" fmla="*/ 5561331 w 6097587"/>
              <a:gd name="connsiteY258" fmla="*/ 271055 h 6858000"/>
              <a:gd name="connsiteX259" fmla="*/ 5561700 w 6097587"/>
              <a:gd name="connsiteY259" fmla="*/ 272183 h 6858000"/>
              <a:gd name="connsiteX260" fmla="*/ 5565344 w 6097587"/>
              <a:gd name="connsiteY260" fmla="*/ 273679 h 6858000"/>
              <a:gd name="connsiteX261" fmla="*/ 5576187 w 6097587"/>
              <a:gd name="connsiteY261" fmla="*/ 273679 h 6858000"/>
              <a:gd name="connsiteX262" fmla="*/ 5579831 w 6097587"/>
              <a:gd name="connsiteY262" fmla="*/ 272183 h 6858000"/>
              <a:gd name="connsiteX263" fmla="*/ 5580200 w 6097587"/>
              <a:gd name="connsiteY263" fmla="*/ 271055 h 6858000"/>
              <a:gd name="connsiteX264" fmla="*/ 5580200 w 6097587"/>
              <a:gd name="connsiteY264" fmla="*/ 207944 h 6858000"/>
              <a:gd name="connsiteX265" fmla="*/ 5579744 w 6097587"/>
              <a:gd name="connsiteY265" fmla="*/ 206816 h 6858000"/>
              <a:gd name="connsiteX266" fmla="*/ 5576187 w 6097587"/>
              <a:gd name="connsiteY266" fmla="*/ 205428 h 6858000"/>
              <a:gd name="connsiteX267" fmla="*/ 5565344 w 6097587"/>
              <a:gd name="connsiteY267" fmla="*/ 205428 h 6858000"/>
              <a:gd name="connsiteX268" fmla="*/ 5561808 w 6097587"/>
              <a:gd name="connsiteY268" fmla="*/ 206816 h 6858000"/>
              <a:gd name="connsiteX269" fmla="*/ 5561331 w 6097587"/>
              <a:gd name="connsiteY269" fmla="*/ 207944 h 6858000"/>
              <a:gd name="connsiteX270" fmla="*/ 5561331 w 6097587"/>
              <a:gd name="connsiteY270" fmla="*/ 231648 h 6858000"/>
              <a:gd name="connsiteX271" fmla="*/ 5521860 w 6097587"/>
              <a:gd name="connsiteY271" fmla="*/ 231648 h 6858000"/>
              <a:gd name="connsiteX272" fmla="*/ 5521860 w 6097587"/>
              <a:gd name="connsiteY272" fmla="*/ 207944 h 6858000"/>
              <a:gd name="connsiteX273" fmla="*/ 5521383 w 6097587"/>
              <a:gd name="connsiteY273" fmla="*/ 206729 h 6858000"/>
              <a:gd name="connsiteX274" fmla="*/ 5517739 w 6097587"/>
              <a:gd name="connsiteY274" fmla="*/ 205428 h 6858000"/>
              <a:gd name="connsiteX275" fmla="*/ 5414571 w 6097587"/>
              <a:gd name="connsiteY275" fmla="*/ 205427 h 6858000"/>
              <a:gd name="connsiteX276" fmla="*/ 5411296 w 6097587"/>
              <a:gd name="connsiteY276" fmla="*/ 207011 h 6858000"/>
              <a:gd name="connsiteX277" fmla="*/ 5407566 w 6097587"/>
              <a:gd name="connsiteY277" fmla="*/ 217356 h 6858000"/>
              <a:gd name="connsiteX278" fmla="*/ 5410928 w 6097587"/>
              <a:gd name="connsiteY278" fmla="*/ 219785 h 6858000"/>
              <a:gd name="connsiteX279" fmla="*/ 5439859 w 6097587"/>
              <a:gd name="connsiteY279" fmla="*/ 219785 h 6858000"/>
              <a:gd name="connsiteX280" fmla="*/ 5439859 w 6097587"/>
              <a:gd name="connsiteY280" fmla="*/ 271315 h 6858000"/>
              <a:gd name="connsiteX281" fmla="*/ 5443503 w 6097587"/>
              <a:gd name="connsiteY281" fmla="*/ 273483 h 6858000"/>
              <a:gd name="connsiteX282" fmla="*/ 5455084 w 6097587"/>
              <a:gd name="connsiteY282" fmla="*/ 273483 h 6858000"/>
              <a:gd name="connsiteX283" fmla="*/ 5458727 w 6097587"/>
              <a:gd name="connsiteY283" fmla="*/ 271315 h 6858000"/>
              <a:gd name="connsiteX284" fmla="*/ 5458727 w 6097587"/>
              <a:gd name="connsiteY284" fmla="*/ 219785 h 6858000"/>
              <a:gd name="connsiteX285" fmla="*/ 5487659 w 6097587"/>
              <a:gd name="connsiteY285" fmla="*/ 219785 h 6858000"/>
              <a:gd name="connsiteX286" fmla="*/ 5491020 w 6097587"/>
              <a:gd name="connsiteY286" fmla="*/ 217356 h 6858000"/>
              <a:gd name="connsiteX287" fmla="*/ 5487095 w 6097587"/>
              <a:gd name="connsiteY287" fmla="*/ 207011 h 6858000"/>
              <a:gd name="connsiteX288" fmla="*/ 5483820 w 6097587"/>
              <a:gd name="connsiteY288" fmla="*/ 205427 h 6858000"/>
              <a:gd name="connsiteX289" fmla="*/ 5264948 w 6097587"/>
              <a:gd name="connsiteY289" fmla="*/ 203931 h 6858000"/>
              <a:gd name="connsiteX290" fmla="*/ 5246188 w 6097587"/>
              <a:gd name="connsiteY290" fmla="*/ 207293 h 6858000"/>
              <a:gd name="connsiteX291" fmla="*/ 5220336 w 6097587"/>
              <a:gd name="connsiteY291" fmla="*/ 239499 h 6858000"/>
              <a:gd name="connsiteX292" fmla="*/ 5264948 w 6097587"/>
              <a:gd name="connsiteY292" fmla="*/ 275067 h 6858000"/>
              <a:gd name="connsiteX293" fmla="*/ 5306393 w 6097587"/>
              <a:gd name="connsiteY293" fmla="*/ 253704 h 6858000"/>
              <a:gd name="connsiteX294" fmla="*/ 5309668 w 6097587"/>
              <a:gd name="connsiteY294" fmla="*/ 239499 h 6858000"/>
              <a:gd name="connsiteX295" fmla="*/ 5264948 w 6097587"/>
              <a:gd name="connsiteY295" fmla="*/ 203931 h 6858000"/>
              <a:gd name="connsiteX296" fmla="*/ 4880193 w 6097587"/>
              <a:gd name="connsiteY296" fmla="*/ 202289 h 6858000"/>
              <a:gd name="connsiteX297" fmla="*/ 4725857 w 6097587"/>
              <a:gd name="connsiteY297" fmla="*/ 295541 h 6858000"/>
              <a:gd name="connsiteX298" fmla="*/ 4828483 w 6097587"/>
              <a:gd name="connsiteY298" fmla="*/ 485351 h 6858000"/>
              <a:gd name="connsiteX299" fmla="*/ 4941779 w 6097587"/>
              <a:gd name="connsiteY299" fmla="*/ 481014 h 6858000"/>
              <a:gd name="connsiteX300" fmla="*/ 5234173 w 6097587"/>
              <a:gd name="connsiteY300" fmla="*/ 400075 h 6858000"/>
              <a:gd name="connsiteX301" fmla="*/ 4764027 w 6097587"/>
              <a:gd name="connsiteY301" fmla="*/ 382725 h 6858000"/>
              <a:gd name="connsiteX302" fmla="*/ 4939697 w 6097587"/>
              <a:gd name="connsiteY302" fmla="*/ 212498 h 6858000"/>
              <a:gd name="connsiteX303" fmla="*/ 4880193 w 6097587"/>
              <a:gd name="connsiteY303" fmla="*/ 202289 h 6858000"/>
              <a:gd name="connsiteX304" fmla="*/ 4917391 w 6097587"/>
              <a:gd name="connsiteY304" fmla="*/ 152090 h 6858000"/>
              <a:gd name="connsiteX305" fmla="*/ 4858065 w 6097587"/>
              <a:gd name="connsiteY305" fmla="*/ 161727 h 6858000"/>
              <a:gd name="connsiteX306" fmla="*/ 4565693 w 6097587"/>
              <a:gd name="connsiteY306" fmla="*/ 242666 h 6858000"/>
              <a:gd name="connsiteX307" fmla="*/ 5035817 w 6097587"/>
              <a:gd name="connsiteY307" fmla="*/ 260016 h 6858000"/>
              <a:gd name="connsiteX308" fmla="*/ 4860147 w 6097587"/>
              <a:gd name="connsiteY308" fmla="*/ 430221 h 6858000"/>
              <a:gd name="connsiteX309" fmla="*/ 5074009 w 6097587"/>
              <a:gd name="connsiteY309" fmla="*/ 347179 h 6858000"/>
              <a:gd name="connsiteX310" fmla="*/ 4971383 w 6097587"/>
              <a:gd name="connsiteY310" fmla="*/ 157368 h 6858000"/>
              <a:gd name="connsiteX311" fmla="*/ 4917391 w 6097587"/>
              <a:gd name="connsiteY311" fmla="*/ 152090 h 6858000"/>
              <a:gd name="connsiteX312" fmla="*/ 0 w 6097587"/>
              <a:gd name="connsiteY312" fmla="*/ 0 h 6858000"/>
              <a:gd name="connsiteX313" fmla="*/ 6097587 w 6097587"/>
              <a:gd name="connsiteY313" fmla="*/ 0 h 6858000"/>
              <a:gd name="connsiteX314" fmla="*/ 6097587 w 6097587"/>
              <a:gd name="connsiteY314" fmla="*/ 6858000 h 6858000"/>
              <a:gd name="connsiteX315" fmla="*/ 0 w 6097587"/>
              <a:gd name="connsiteY3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</a:cxnLst>
            <a:rect l="l" t="t" r="r" b="b"/>
            <a:pathLst>
              <a:path w="6097587" h="6858000">
                <a:moveTo>
                  <a:pt x="5596943" y="346463"/>
                </a:moveTo>
                <a:lnTo>
                  <a:pt x="5596943" y="346658"/>
                </a:lnTo>
                <a:lnTo>
                  <a:pt x="5594340" y="346658"/>
                </a:lnTo>
                <a:cubicBezTo>
                  <a:pt x="5595273" y="346463"/>
                  <a:pt x="5596097" y="346463"/>
                  <a:pt x="5596943" y="346463"/>
                </a:cubicBezTo>
                <a:close/>
                <a:moveTo>
                  <a:pt x="5558013" y="318920"/>
                </a:moveTo>
                <a:lnTo>
                  <a:pt x="5593950" y="318920"/>
                </a:lnTo>
                <a:cubicBezTo>
                  <a:pt x="5596834" y="318920"/>
                  <a:pt x="5599003" y="323214"/>
                  <a:pt x="5599003" y="325752"/>
                </a:cubicBezTo>
                <a:cubicBezTo>
                  <a:pt x="5599005" y="325817"/>
                  <a:pt x="5599005" y="325883"/>
                  <a:pt x="5599005" y="325949"/>
                </a:cubicBezTo>
                <a:cubicBezTo>
                  <a:pt x="5598968" y="328703"/>
                  <a:pt x="5596704" y="330907"/>
                  <a:pt x="5593950" y="330870"/>
                </a:cubicBezTo>
                <a:lnTo>
                  <a:pt x="5558013" y="330870"/>
                </a:lnTo>
                <a:close/>
                <a:moveTo>
                  <a:pt x="5152236" y="318876"/>
                </a:moveTo>
                <a:lnTo>
                  <a:pt x="5188173" y="318876"/>
                </a:lnTo>
                <a:cubicBezTo>
                  <a:pt x="5191165" y="318876"/>
                  <a:pt x="5193204" y="323756"/>
                  <a:pt x="5193204" y="326358"/>
                </a:cubicBezTo>
                <a:cubicBezTo>
                  <a:pt x="5193204" y="328961"/>
                  <a:pt x="5190775" y="332409"/>
                  <a:pt x="5187977" y="332409"/>
                </a:cubicBezTo>
                <a:lnTo>
                  <a:pt x="5152236" y="332409"/>
                </a:lnTo>
                <a:close/>
                <a:moveTo>
                  <a:pt x="5269242" y="317575"/>
                </a:moveTo>
                <a:cubicBezTo>
                  <a:pt x="5280346" y="317575"/>
                  <a:pt x="5295007" y="324472"/>
                  <a:pt x="5295007" y="337268"/>
                </a:cubicBezTo>
                <a:cubicBezTo>
                  <a:pt x="5295000" y="340032"/>
                  <a:pt x="5294250" y="342743"/>
                  <a:pt x="5292838" y="345119"/>
                </a:cubicBezTo>
                <a:cubicBezTo>
                  <a:pt x="5289389" y="351365"/>
                  <a:pt x="5280584" y="357069"/>
                  <a:pt x="5269307" y="357069"/>
                </a:cubicBezTo>
                <a:cubicBezTo>
                  <a:pt x="5258029" y="357069"/>
                  <a:pt x="5243650" y="350150"/>
                  <a:pt x="5243650" y="337268"/>
                </a:cubicBezTo>
                <a:cubicBezTo>
                  <a:pt x="5243685" y="334325"/>
                  <a:pt x="5244459" y="331438"/>
                  <a:pt x="5245906" y="328875"/>
                </a:cubicBezTo>
                <a:cubicBezTo>
                  <a:pt x="5249723" y="322997"/>
                  <a:pt x="5258137" y="317575"/>
                  <a:pt x="5269242" y="317575"/>
                </a:cubicBezTo>
                <a:close/>
                <a:moveTo>
                  <a:pt x="5456710" y="303283"/>
                </a:moveTo>
                <a:cubicBezTo>
                  <a:pt x="5455313" y="303141"/>
                  <a:pt x="5453932" y="303663"/>
                  <a:pt x="5452980" y="304693"/>
                </a:cubicBezTo>
                <a:cubicBezTo>
                  <a:pt x="5452600" y="305015"/>
                  <a:pt x="5452392" y="305496"/>
                  <a:pt x="5452416" y="305994"/>
                </a:cubicBezTo>
                <a:lnTo>
                  <a:pt x="5452416" y="368259"/>
                </a:lnTo>
                <a:cubicBezTo>
                  <a:pt x="5452392" y="368762"/>
                  <a:pt x="5452600" y="369250"/>
                  <a:pt x="5452980" y="369582"/>
                </a:cubicBezTo>
                <a:cubicBezTo>
                  <a:pt x="5453921" y="370638"/>
                  <a:pt x="5455300" y="371191"/>
                  <a:pt x="5456710" y="371079"/>
                </a:cubicBezTo>
                <a:lnTo>
                  <a:pt x="5517718" y="371079"/>
                </a:lnTo>
                <a:cubicBezTo>
                  <a:pt x="5519231" y="371170"/>
                  <a:pt x="5520671" y="370408"/>
                  <a:pt x="5521448" y="369105"/>
                </a:cubicBezTo>
                <a:lnTo>
                  <a:pt x="5524983" y="358261"/>
                </a:lnTo>
                <a:cubicBezTo>
                  <a:pt x="5525096" y="358135"/>
                  <a:pt x="5525165" y="357975"/>
                  <a:pt x="5525178" y="357806"/>
                </a:cubicBezTo>
                <a:cubicBezTo>
                  <a:pt x="5525178" y="356960"/>
                  <a:pt x="5523421" y="355377"/>
                  <a:pt x="5521253" y="355377"/>
                </a:cubicBezTo>
                <a:lnTo>
                  <a:pt x="5471371" y="355377"/>
                </a:lnTo>
                <a:lnTo>
                  <a:pt x="5471371" y="345162"/>
                </a:lnTo>
                <a:lnTo>
                  <a:pt x="5504206" y="345162"/>
                </a:lnTo>
                <a:cubicBezTo>
                  <a:pt x="5506071" y="345162"/>
                  <a:pt x="5507828" y="343926"/>
                  <a:pt x="5508023" y="342993"/>
                </a:cubicBezTo>
                <a:lnTo>
                  <a:pt x="5511667" y="331976"/>
                </a:lnTo>
                <a:lnTo>
                  <a:pt x="5511667" y="331781"/>
                </a:lnTo>
                <a:cubicBezTo>
                  <a:pt x="5511667" y="330848"/>
                  <a:pt x="5509888" y="329265"/>
                  <a:pt x="5507828" y="329265"/>
                </a:cubicBezTo>
                <a:lnTo>
                  <a:pt x="5471436" y="329265"/>
                </a:lnTo>
                <a:lnTo>
                  <a:pt x="5471436" y="319006"/>
                </a:lnTo>
                <a:lnTo>
                  <a:pt x="5521318" y="319006"/>
                </a:lnTo>
                <a:cubicBezTo>
                  <a:pt x="5523465" y="319006"/>
                  <a:pt x="5525243" y="317510"/>
                  <a:pt x="5525243" y="316577"/>
                </a:cubicBezTo>
                <a:cubicBezTo>
                  <a:pt x="5525228" y="316376"/>
                  <a:pt x="5525161" y="316181"/>
                  <a:pt x="5525048" y="316014"/>
                </a:cubicBezTo>
                <a:lnTo>
                  <a:pt x="5521513" y="305170"/>
                </a:lnTo>
                <a:cubicBezTo>
                  <a:pt x="5521318" y="304324"/>
                  <a:pt x="5519648" y="303283"/>
                  <a:pt x="5517783" y="303283"/>
                </a:cubicBezTo>
                <a:close/>
                <a:moveTo>
                  <a:pt x="5542810" y="303218"/>
                </a:moveTo>
                <a:cubicBezTo>
                  <a:pt x="5540945" y="303218"/>
                  <a:pt x="5539080" y="304736"/>
                  <a:pt x="5539080" y="305387"/>
                </a:cubicBezTo>
                <a:lnTo>
                  <a:pt x="5539080" y="368953"/>
                </a:lnTo>
                <a:cubicBezTo>
                  <a:pt x="5539663" y="370478"/>
                  <a:pt x="5541184" y="371432"/>
                  <a:pt x="5542810" y="371296"/>
                </a:cubicBezTo>
                <a:lnTo>
                  <a:pt x="5554283" y="371296"/>
                </a:lnTo>
                <a:cubicBezTo>
                  <a:pt x="5555907" y="371426"/>
                  <a:pt x="5557423" y="370474"/>
                  <a:pt x="5558013" y="368953"/>
                </a:cubicBezTo>
                <a:lnTo>
                  <a:pt x="5558013" y="346658"/>
                </a:lnTo>
                <a:lnTo>
                  <a:pt x="5575949" y="346658"/>
                </a:lnTo>
                <a:lnTo>
                  <a:pt x="5598157" y="370255"/>
                </a:lnTo>
                <a:cubicBezTo>
                  <a:pt x="5599010" y="371057"/>
                  <a:pt x="5600157" y="371465"/>
                  <a:pt x="5601324" y="371382"/>
                </a:cubicBezTo>
                <a:lnTo>
                  <a:pt x="5616093" y="371382"/>
                </a:lnTo>
                <a:cubicBezTo>
                  <a:pt x="5618132" y="371382"/>
                  <a:pt x="5619715" y="369864"/>
                  <a:pt x="5619715" y="369214"/>
                </a:cubicBezTo>
                <a:cubicBezTo>
                  <a:pt x="5619674" y="368802"/>
                  <a:pt x="5619515" y="368411"/>
                  <a:pt x="5619259" y="368086"/>
                </a:cubicBezTo>
                <a:cubicBezTo>
                  <a:pt x="5619064" y="367804"/>
                  <a:pt x="5618977" y="367782"/>
                  <a:pt x="5618414" y="367153"/>
                </a:cubicBezTo>
                <a:cubicBezTo>
                  <a:pt x="5617850" y="366524"/>
                  <a:pt x="5617026" y="365570"/>
                  <a:pt x="5615898" y="364356"/>
                </a:cubicBezTo>
                <a:lnTo>
                  <a:pt x="5608155" y="356331"/>
                </a:lnTo>
                <a:cubicBezTo>
                  <a:pt x="5605336" y="353425"/>
                  <a:pt x="5602560" y="350367"/>
                  <a:pt x="5600391" y="348198"/>
                </a:cubicBezTo>
                <a:cubicBezTo>
                  <a:pt x="5599801" y="347606"/>
                  <a:pt x="5599244" y="346984"/>
                  <a:pt x="5598721" y="346333"/>
                </a:cubicBezTo>
                <a:cubicBezTo>
                  <a:pt x="5609261" y="344750"/>
                  <a:pt x="5617936" y="336660"/>
                  <a:pt x="5617936" y="325817"/>
                </a:cubicBezTo>
                <a:cubicBezTo>
                  <a:pt x="5617936" y="312739"/>
                  <a:pt x="5606572" y="303218"/>
                  <a:pt x="5593950" y="303218"/>
                </a:cubicBezTo>
                <a:close/>
                <a:moveTo>
                  <a:pt x="5137206" y="303109"/>
                </a:moveTo>
                <a:cubicBezTo>
                  <a:pt x="5135797" y="303109"/>
                  <a:pt x="5133281" y="303846"/>
                  <a:pt x="5133281" y="305625"/>
                </a:cubicBezTo>
                <a:lnTo>
                  <a:pt x="5133281" y="368910"/>
                </a:lnTo>
                <a:cubicBezTo>
                  <a:pt x="5134034" y="370389"/>
                  <a:pt x="5135547" y="371326"/>
                  <a:pt x="5137206" y="371339"/>
                </a:cubicBezTo>
                <a:lnTo>
                  <a:pt x="5148311" y="371339"/>
                </a:lnTo>
                <a:cubicBezTo>
                  <a:pt x="5149959" y="371286"/>
                  <a:pt x="5151455" y="370363"/>
                  <a:pt x="5152236" y="368910"/>
                </a:cubicBezTo>
                <a:lnTo>
                  <a:pt x="5152236" y="348198"/>
                </a:lnTo>
                <a:lnTo>
                  <a:pt x="5187760" y="348219"/>
                </a:lnTo>
                <a:cubicBezTo>
                  <a:pt x="5200448" y="348219"/>
                  <a:pt x="5211639" y="339414"/>
                  <a:pt x="5212116" y="326532"/>
                </a:cubicBezTo>
                <a:lnTo>
                  <a:pt x="5212116" y="326163"/>
                </a:lnTo>
                <a:cubicBezTo>
                  <a:pt x="5211808" y="313195"/>
                  <a:pt x="5201098" y="302903"/>
                  <a:pt x="5188129" y="303109"/>
                </a:cubicBezTo>
                <a:close/>
                <a:moveTo>
                  <a:pt x="5323873" y="303088"/>
                </a:moveTo>
                <a:cubicBezTo>
                  <a:pt x="5321813" y="303088"/>
                  <a:pt x="5320316" y="304606"/>
                  <a:pt x="5320316" y="305257"/>
                </a:cubicBezTo>
                <a:cubicBezTo>
                  <a:pt x="5320292" y="305479"/>
                  <a:pt x="5320329" y="305704"/>
                  <a:pt x="5320424" y="305907"/>
                </a:cubicBezTo>
                <a:lnTo>
                  <a:pt x="5349985" y="369951"/>
                </a:lnTo>
                <a:cubicBezTo>
                  <a:pt x="5350382" y="370625"/>
                  <a:pt x="5351015" y="371129"/>
                  <a:pt x="5351763" y="371361"/>
                </a:cubicBezTo>
                <a:lnTo>
                  <a:pt x="5352501" y="371534"/>
                </a:lnTo>
                <a:lnTo>
                  <a:pt x="5362217" y="371534"/>
                </a:lnTo>
                <a:cubicBezTo>
                  <a:pt x="5363531" y="371417"/>
                  <a:pt x="5364758" y="370823"/>
                  <a:pt x="5365665" y="369864"/>
                </a:cubicBezTo>
                <a:lnTo>
                  <a:pt x="5380413" y="334383"/>
                </a:lnTo>
                <a:lnTo>
                  <a:pt x="5395074" y="369864"/>
                </a:lnTo>
                <a:cubicBezTo>
                  <a:pt x="5395074" y="370038"/>
                  <a:pt x="5395919" y="370797"/>
                  <a:pt x="5396093" y="370992"/>
                </a:cubicBezTo>
                <a:lnTo>
                  <a:pt x="5397134" y="371534"/>
                </a:lnTo>
                <a:lnTo>
                  <a:pt x="5407392" y="371534"/>
                </a:lnTo>
                <a:cubicBezTo>
                  <a:pt x="5408739" y="371643"/>
                  <a:pt x="5410045" y="371042"/>
                  <a:pt x="5410841" y="369951"/>
                </a:cubicBezTo>
                <a:lnTo>
                  <a:pt x="5440444" y="306016"/>
                </a:lnTo>
                <a:cubicBezTo>
                  <a:pt x="5440485" y="305801"/>
                  <a:pt x="5440485" y="305580"/>
                  <a:pt x="5440444" y="305365"/>
                </a:cubicBezTo>
                <a:cubicBezTo>
                  <a:pt x="5440444" y="304606"/>
                  <a:pt x="5438861" y="303196"/>
                  <a:pt x="5436909" y="303196"/>
                </a:cubicBezTo>
                <a:lnTo>
                  <a:pt x="5423072" y="303196"/>
                </a:lnTo>
                <a:lnTo>
                  <a:pt x="5422335" y="303391"/>
                </a:lnTo>
                <a:cubicBezTo>
                  <a:pt x="5421567" y="303618"/>
                  <a:pt x="5420906" y="304110"/>
                  <a:pt x="5420470" y="304779"/>
                </a:cubicBezTo>
                <a:lnTo>
                  <a:pt x="5403488" y="341649"/>
                </a:lnTo>
                <a:lnTo>
                  <a:pt x="5390454" y="309724"/>
                </a:lnTo>
                <a:cubicBezTo>
                  <a:pt x="5389782" y="308033"/>
                  <a:pt x="5389044" y="306363"/>
                  <a:pt x="5388285" y="304779"/>
                </a:cubicBezTo>
                <a:cubicBezTo>
                  <a:pt x="5387917" y="303847"/>
                  <a:pt x="5387179" y="303088"/>
                  <a:pt x="5384837" y="303088"/>
                </a:cubicBezTo>
                <a:lnTo>
                  <a:pt x="5376162" y="303088"/>
                </a:lnTo>
                <a:cubicBezTo>
                  <a:pt x="5374383" y="303088"/>
                  <a:pt x="5372909" y="303934"/>
                  <a:pt x="5372713" y="304779"/>
                </a:cubicBezTo>
                <a:cubicBezTo>
                  <a:pt x="5371933" y="306363"/>
                  <a:pt x="5371195" y="308033"/>
                  <a:pt x="5370545" y="309724"/>
                </a:cubicBezTo>
                <a:lnTo>
                  <a:pt x="5357294" y="341540"/>
                </a:lnTo>
                <a:lnTo>
                  <a:pt x="5340204" y="304671"/>
                </a:lnTo>
                <a:cubicBezTo>
                  <a:pt x="5339403" y="303586"/>
                  <a:pt x="5338100" y="302988"/>
                  <a:pt x="5336755" y="303088"/>
                </a:cubicBezTo>
                <a:close/>
                <a:moveTo>
                  <a:pt x="5269307" y="301700"/>
                </a:moveTo>
                <a:cubicBezTo>
                  <a:pt x="5262911" y="301788"/>
                  <a:pt x="5256574" y="302924"/>
                  <a:pt x="5250547" y="305062"/>
                </a:cubicBezTo>
                <a:cubicBezTo>
                  <a:pt x="5230659" y="312067"/>
                  <a:pt x="5224695" y="325795"/>
                  <a:pt x="5224695" y="337268"/>
                </a:cubicBezTo>
                <a:cubicBezTo>
                  <a:pt x="5224695" y="359021"/>
                  <a:pt x="5249614" y="372836"/>
                  <a:pt x="5269307" y="372836"/>
                </a:cubicBezTo>
                <a:cubicBezTo>
                  <a:pt x="5292469" y="372836"/>
                  <a:pt x="5305720" y="361623"/>
                  <a:pt x="5310752" y="351452"/>
                </a:cubicBezTo>
                <a:cubicBezTo>
                  <a:pt x="5312912" y="347036"/>
                  <a:pt x="5314033" y="342184"/>
                  <a:pt x="5314027" y="337268"/>
                </a:cubicBezTo>
                <a:cubicBezTo>
                  <a:pt x="5314027" y="314019"/>
                  <a:pt x="5289953" y="301700"/>
                  <a:pt x="5269307" y="301700"/>
                </a:cubicBezTo>
                <a:close/>
                <a:moveTo>
                  <a:pt x="5377377" y="248738"/>
                </a:moveTo>
                <a:lnTo>
                  <a:pt x="5377377" y="248912"/>
                </a:lnTo>
                <a:lnTo>
                  <a:pt x="5374774" y="248912"/>
                </a:lnTo>
                <a:cubicBezTo>
                  <a:pt x="5375707" y="248738"/>
                  <a:pt x="5376553" y="248738"/>
                  <a:pt x="5377377" y="248738"/>
                </a:cubicBezTo>
                <a:close/>
                <a:moveTo>
                  <a:pt x="5711563" y="226898"/>
                </a:moveTo>
                <a:lnTo>
                  <a:pt x="5721647" y="246678"/>
                </a:lnTo>
                <a:lnTo>
                  <a:pt x="5701413" y="246678"/>
                </a:lnTo>
                <a:cubicBezTo>
                  <a:pt x="5701803" y="246027"/>
                  <a:pt x="5702172" y="245181"/>
                  <a:pt x="5702736" y="244357"/>
                </a:cubicBezTo>
                <a:cubicBezTo>
                  <a:pt x="5703798" y="241928"/>
                  <a:pt x="5705490" y="238653"/>
                  <a:pt x="5707073" y="235573"/>
                </a:cubicBezTo>
                <a:cubicBezTo>
                  <a:pt x="5708656" y="232494"/>
                  <a:pt x="5710348" y="229327"/>
                  <a:pt x="5711563" y="226898"/>
                </a:cubicBezTo>
                <a:close/>
                <a:moveTo>
                  <a:pt x="5338469" y="221195"/>
                </a:moveTo>
                <a:lnTo>
                  <a:pt x="5374406" y="221195"/>
                </a:lnTo>
                <a:cubicBezTo>
                  <a:pt x="5377268" y="221195"/>
                  <a:pt x="5379437" y="225489"/>
                  <a:pt x="5379437" y="228005"/>
                </a:cubicBezTo>
                <a:cubicBezTo>
                  <a:pt x="5379439" y="228071"/>
                  <a:pt x="5379439" y="228137"/>
                  <a:pt x="5379439" y="228203"/>
                </a:cubicBezTo>
                <a:cubicBezTo>
                  <a:pt x="5379413" y="230957"/>
                  <a:pt x="5377160" y="233170"/>
                  <a:pt x="5374406" y="233145"/>
                </a:cubicBezTo>
                <a:lnTo>
                  <a:pt x="5338469" y="233145"/>
                </a:lnTo>
                <a:close/>
                <a:moveTo>
                  <a:pt x="5870229" y="221173"/>
                </a:moveTo>
                <a:lnTo>
                  <a:pt x="5889553" y="221195"/>
                </a:lnTo>
                <a:cubicBezTo>
                  <a:pt x="5908161" y="221195"/>
                  <a:pt x="5914667" y="229415"/>
                  <a:pt x="5914667" y="239586"/>
                </a:cubicBezTo>
                <a:cubicBezTo>
                  <a:pt x="5914667" y="250885"/>
                  <a:pt x="5910742" y="257869"/>
                  <a:pt x="5889553" y="257869"/>
                </a:cubicBezTo>
                <a:lnTo>
                  <a:pt x="5870229" y="257869"/>
                </a:lnTo>
                <a:close/>
                <a:moveTo>
                  <a:pt x="5264883" y="219785"/>
                </a:moveTo>
                <a:cubicBezTo>
                  <a:pt x="5275987" y="219785"/>
                  <a:pt x="5290647" y="226703"/>
                  <a:pt x="5290647" y="239499"/>
                </a:cubicBezTo>
                <a:cubicBezTo>
                  <a:pt x="5290639" y="242256"/>
                  <a:pt x="5289891" y="244960"/>
                  <a:pt x="5288479" y="247328"/>
                </a:cubicBezTo>
                <a:cubicBezTo>
                  <a:pt x="5285009" y="253574"/>
                  <a:pt x="5276247" y="259278"/>
                  <a:pt x="5264948" y="259278"/>
                </a:cubicBezTo>
                <a:cubicBezTo>
                  <a:pt x="5253648" y="259278"/>
                  <a:pt x="5239269" y="252360"/>
                  <a:pt x="5239269" y="239499"/>
                </a:cubicBezTo>
                <a:cubicBezTo>
                  <a:pt x="5239300" y="236546"/>
                  <a:pt x="5240085" y="233649"/>
                  <a:pt x="5241547" y="231084"/>
                </a:cubicBezTo>
                <a:cubicBezTo>
                  <a:pt x="5245364" y="225207"/>
                  <a:pt x="5253778" y="219785"/>
                  <a:pt x="5264883" y="219785"/>
                </a:cubicBezTo>
                <a:close/>
                <a:moveTo>
                  <a:pt x="5704796" y="205536"/>
                </a:moveTo>
                <a:cubicBezTo>
                  <a:pt x="5703345" y="205428"/>
                  <a:pt x="5701935" y="206055"/>
                  <a:pt x="5701044" y="207206"/>
                </a:cubicBezTo>
                <a:lnTo>
                  <a:pt x="5668512" y="270491"/>
                </a:lnTo>
                <a:cubicBezTo>
                  <a:pt x="5668398" y="270758"/>
                  <a:pt x="5668339" y="271046"/>
                  <a:pt x="5668339" y="271336"/>
                </a:cubicBezTo>
                <a:cubicBezTo>
                  <a:pt x="5668339" y="272074"/>
                  <a:pt x="5670096" y="273766"/>
                  <a:pt x="5672264" y="273766"/>
                </a:cubicBezTo>
                <a:lnTo>
                  <a:pt x="5684757" y="273766"/>
                </a:lnTo>
                <a:cubicBezTo>
                  <a:pt x="5686201" y="273721"/>
                  <a:pt x="5687561" y="273077"/>
                  <a:pt x="5688508" y="271987"/>
                </a:cubicBezTo>
                <a:lnTo>
                  <a:pt x="5693453" y="262379"/>
                </a:lnTo>
                <a:lnTo>
                  <a:pt x="5729737" y="262379"/>
                </a:lnTo>
                <a:lnTo>
                  <a:pt x="5734877" y="271987"/>
                </a:lnTo>
                <a:cubicBezTo>
                  <a:pt x="5735740" y="273172"/>
                  <a:pt x="5737143" y="273841"/>
                  <a:pt x="5738607" y="273766"/>
                </a:cubicBezTo>
                <a:lnTo>
                  <a:pt x="5751121" y="273766"/>
                </a:lnTo>
                <a:cubicBezTo>
                  <a:pt x="5752502" y="273895"/>
                  <a:pt x="5753849" y="273295"/>
                  <a:pt x="5754678" y="272182"/>
                </a:cubicBezTo>
                <a:cubicBezTo>
                  <a:pt x="5754994" y="271663"/>
                  <a:pt x="5754994" y="271010"/>
                  <a:pt x="5754678" y="270491"/>
                </a:cubicBezTo>
                <a:lnTo>
                  <a:pt x="5722146" y="207206"/>
                </a:lnTo>
                <a:cubicBezTo>
                  <a:pt x="5722059" y="206924"/>
                  <a:pt x="5721214" y="205536"/>
                  <a:pt x="5718416" y="205536"/>
                </a:cubicBezTo>
                <a:close/>
                <a:moveTo>
                  <a:pt x="5323244" y="205493"/>
                </a:moveTo>
                <a:cubicBezTo>
                  <a:pt x="5321379" y="205493"/>
                  <a:pt x="5319514" y="207011"/>
                  <a:pt x="5319514" y="207662"/>
                </a:cubicBezTo>
                <a:lnTo>
                  <a:pt x="5319514" y="271228"/>
                </a:lnTo>
                <a:cubicBezTo>
                  <a:pt x="5320117" y="272734"/>
                  <a:pt x="5321626" y="273674"/>
                  <a:pt x="5323244" y="273549"/>
                </a:cubicBezTo>
                <a:lnTo>
                  <a:pt x="5334717" y="273549"/>
                </a:lnTo>
                <a:cubicBezTo>
                  <a:pt x="5336339" y="273677"/>
                  <a:pt x="5337860" y="272738"/>
                  <a:pt x="5338469" y="271228"/>
                </a:cubicBezTo>
                <a:lnTo>
                  <a:pt x="5338469" y="248912"/>
                </a:lnTo>
                <a:lnTo>
                  <a:pt x="5356383" y="248912"/>
                </a:lnTo>
                <a:lnTo>
                  <a:pt x="5378591" y="272551"/>
                </a:lnTo>
                <a:cubicBezTo>
                  <a:pt x="5379452" y="273349"/>
                  <a:pt x="5380608" y="273750"/>
                  <a:pt x="5381779" y="273657"/>
                </a:cubicBezTo>
                <a:lnTo>
                  <a:pt x="5396527" y="273657"/>
                </a:lnTo>
                <a:cubicBezTo>
                  <a:pt x="5398566" y="273657"/>
                  <a:pt x="5400171" y="272139"/>
                  <a:pt x="5400171" y="271489"/>
                </a:cubicBezTo>
                <a:cubicBezTo>
                  <a:pt x="5400114" y="271077"/>
                  <a:pt x="5399949" y="270688"/>
                  <a:pt x="5399693" y="270361"/>
                </a:cubicBezTo>
                <a:cubicBezTo>
                  <a:pt x="5399498" y="270079"/>
                  <a:pt x="5399412" y="270057"/>
                  <a:pt x="5398848" y="269428"/>
                </a:cubicBezTo>
                <a:cubicBezTo>
                  <a:pt x="5398284" y="268799"/>
                  <a:pt x="5397460" y="267845"/>
                  <a:pt x="5396332" y="266631"/>
                </a:cubicBezTo>
                <a:lnTo>
                  <a:pt x="5388589" y="258606"/>
                </a:lnTo>
                <a:cubicBezTo>
                  <a:pt x="5385792" y="255700"/>
                  <a:pt x="5383016" y="252642"/>
                  <a:pt x="5380847" y="250473"/>
                </a:cubicBezTo>
                <a:cubicBezTo>
                  <a:pt x="5380250" y="249881"/>
                  <a:pt x="5379687" y="249259"/>
                  <a:pt x="5379155" y="248608"/>
                </a:cubicBezTo>
                <a:cubicBezTo>
                  <a:pt x="5389717" y="247025"/>
                  <a:pt x="5398392" y="238914"/>
                  <a:pt x="5398392" y="228070"/>
                </a:cubicBezTo>
                <a:cubicBezTo>
                  <a:pt x="5398392" y="215014"/>
                  <a:pt x="5387006" y="205493"/>
                  <a:pt x="5374406" y="205493"/>
                </a:cubicBezTo>
                <a:close/>
                <a:moveTo>
                  <a:pt x="5824555" y="205472"/>
                </a:moveTo>
                <a:cubicBezTo>
                  <a:pt x="5823195" y="205371"/>
                  <a:pt x="5821859" y="205879"/>
                  <a:pt x="5820911" y="206860"/>
                </a:cubicBezTo>
                <a:cubicBezTo>
                  <a:pt x="5820649" y="207216"/>
                  <a:pt x="5820486" y="207635"/>
                  <a:pt x="5820434" y="208074"/>
                </a:cubicBezTo>
                <a:lnTo>
                  <a:pt x="5820434" y="246071"/>
                </a:lnTo>
                <a:lnTo>
                  <a:pt x="5778794" y="206664"/>
                </a:lnTo>
                <a:cubicBezTo>
                  <a:pt x="5777913" y="205783"/>
                  <a:pt x="5776664" y="205373"/>
                  <a:pt x="5775432" y="205558"/>
                </a:cubicBezTo>
                <a:lnTo>
                  <a:pt x="5766280" y="205558"/>
                </a:lnTo>
                <a:cubicBezTo>
                  <a:pt x="5764922" y="205475"/>
                  <a:pt x="5763595" y="205981"/>
                  <a:pt x="5762636" y="206946"/>
                </a:cubicBezTo>
                <a:cubicBezTo>
                  <a:pt x="5762365" y="207295"/>
                  <a:pt x="5762205" y="207719"/>
                  <a:pt x="5762181" y="208161"/>
                </a:cubicBezTo>
                <a:lnTo>
                  <a:pt x="5762181" y="271055"/>
                </a:lnTo>
                <a:cubicBezTo>
                  <a:pt x="5762205" y="271497"/>
                  <a:pt x="5762365" y="271921"/>
                  <a:pt x="5762636" y="272270"/>
                </a:cubicBezTo>
                <a:cubicBezTo>
                  <a:pt x="5763589" y="273245"/>
                  <a:pt x="5764920" y="273752"/>
                  <a:pt x="5766280" y="273658"/>
                </a:cubicBezTo>
                <a:lnTo>
                  <a:pt x="5776929" y="273658"/>
                </a:lnTo>
                <a:cubicBezTo>
                  <a:pt x="5778425" y="273658"/>
                  <a:pt x="5781136" y="273007"/>
                  <a:pt x="5781136" y="271055"/>
                </a:cubicBezTo>
                <a:lnTo>
                  <a:pt x="5781136" y="232668"/>
                </a:lnTo>
                <a:lnTo>
                  <a:pt x="5823189" y="272552"/>
                </a:lnTo>
                <a:cubicBezTo>
                  <a:pt x="5824121" y="273406"/>
                  <a:pt x="5825381" y="273810"/>
                  <a:pt x="5826637" y="273658"/>
                </a:cubicBezTo>
                <a:lnTo>
                  <a:pt x="5835312" y="273658"/>
                </a:lnTo>
                <a:cubicBezTo>
                  <a:pt x="5836720" y="273783"/>
                  <a:pt x="5838101" y="273237"/>
                  <a:pt x="5839042" y="272183"/>
                </a:cubicBezTo>
                <a:cubicBezTo>
                  <a:pt x="5839348" y="271854"/>
                  <a:pt x="5839511" y="271417"/>
                  <a:pt x="5839498" y="270968"/>
                </a:cubicBezTo>
                <a:lnTo>
                  <a:pt x="5839498" y="208074"/>
                </a:lnTo>
                <a:cubicBezTo>
                  <a:pt x="5839498" y="207624"/>
                  <a:pt x="5839329" y="207189"/>
                  <a:pt x="5839021" y="206860"/>
                </a:cubicBezTo>
                <a:cubicBezTo>
                  <a:pt x="5838099" y="205853"/>
                  <a:pt x="5836756" y="205339"/>
                  <a:pt x="5835399" y="205472"/>
                </a:cubicBezTo>
                <a:close/>
                <a:moveTo>
                  <a:pt x="5195546" y="205472"/>
                </a:moveTo>
                <a:cubicBezTo>
                  <a:pt x="5194187" y="205371"/>
                  <a:pt x="5192851" y="205879"/>
                  <a:pt x="5191903" y="206860"/>
                </a:cubicBezTo>
                <a:cubicBezTo>
                  <a:pt x="5191643" y="207216"/>
                  <a:pt x="5191478" y="207635"/>
                  <a:pt x="5191426" y="208074"/>
                </a:cubicBezTo>
                <a:lnTo>
                  <a:pt x="5191534" y="246071"/>
                </a:lnTo>
                <a:lnTo>
                  <a:pt x="5149894" y="206664"/>
                </a:lnTo>
                <a:cubicBezTo>
                  <a:pt x="5149015" y="205780"/>
                  <a:pt x="5147764" y="205369"/>
                  <a:pt x="5146532" y="205558"/>
                </a:cubicBezTo>
                <a:lnTo>
                  <a:pt x="5137380" y="205558"/>
                </a:lnTo>
                <a:cubicBezTo>
                  <a:pt x="5136022" y="205475"/>
                  <a:pt x="5134695" y="205981"/>
                  <a:pt x="5133736" y="206946"/>
                </a:cubicBezTo>
                <a:cubicBezTo>
                  <a:pt x="5133463" y="207295"/>
                  <a:pt x="5133305" y="207719"/>
                  <a:pt x="5133281" y="208161"/>
                </a:cubicBezTo>
                <a:lnTo>
                  <a:pt x="5133281" y="271055"/>
                </a:lnTo>
                <a:cubicBezTo>
                  <a:pt x="5133305" y="271497"/>
                  <a:pt x="5133465" y="271921"/>
                  <a:pt x="5133736" y="272270"/>
                </a:cubicBezTo>
                <a:cubicBezTo>
                  <a:pt x="5134689" y="273245"/>
                  <a:pt x="5136020" y="273752"/>
                  <a:pt x="5137380" y="273658"/>
                </a:cubicBezTo>
                <a:lnTo>
                  <a:pt x="5148029" y="273658"/>
                </a:lnTo>
                <a:cubicBezTo>
                  <a:pt x="5149525" y="273658"/>
                  <a:pt x="5152236" y="273007"/>
                  <a:pt x="5152236" y="271055"/>
                </a:cubicBezTo>
                <a:lnTo>
                  <a:pt x="5152236" y="232668"/>
                </a:lnTo>
                <a:lnTo>
                  <a:pt x="5194072" y="272552"/>
                </a:lnTo>
                <a:cubicBezTo>
                  <a:pt x="5195004" y="273406"/>
                  <a:pt x="5196264" y="273810"/>
                  <a:pt x="5197520" y="273658"/>
                </a:cubicBezTo>
                <a:lnTo>
                  <a:pt x="5206195" y="273658"/>
                </a:lnTo>
                <a:cubicBezTo>
                  <a:pt x="5207605" y="273805"/>
                  <a:pt x="5208997" y="273255"/>
                  <a:pt x="5209925" y="272183"/>
                </a:cubicBezTo>
                <a:cubicBezTo>
                  <a:pt x="5210231" y="271854"/>
                  <a:pt x="5210394" y="271417"/>
                  <a:pt x="5210381" y="270969"/>
                </a:cubicBezTo>
                <a:lnTo>
                  <a:pt x="5210381" y="208074"/>
                </a:lnTo>
                <a:cubicBezTo>
                  <a:pt x="5210381" y="207628"/>
                  <a:pt x="5210220" y="207196"/>
                  <a:pt x="5209925" y="206860"/>
                </a:cubicBezTo>
                <a:cubicBezTo>
                  <a:pt x="5208999" y="205846"/>
                  <a:pt x="5207648" y="205332"/>
                  <a:pt x="5206282" y="205472"/>
                </a:cubicBezTo>
                <a:close/>
                <a:moveTo>
                  <a:pt x="5856110" y="205428"/>
                </a:moveTo>
                <a:cubicBezTo>
                  <a:pt x="5854137" y="205428"/>
                  <a:pt x="5851339" y="206361"/>
                  <a:pt x="5851339" y="208681"/>
                </a:cubicBezTo>
                <a:lnTo>
                  <a:pt x="5851339" y="270383"/>
                </a:lnTo>
                <a:cubicBezTo>
                  <a:pt x="5851339" y="272725"/>
                  <a:pt x="5854137" y="273657"/>
                  <a:pt x="5856110" y="273657"/>
                </a:cubicBezTo>
                <a:lnTo>
                  <a:pt x="5889618" y="273657"/>
                </a:lnTo>
                <a:cubicBezTo>
                  <a:pt x="5925186" y="273657"/>
                  <a:pt x="5933579" y="253770"/>
                  <a:pt x="5933579" y="239586"/>
                </a:cubicBezTo>
                <a:cubicBezTo>
                  <a:pt x="5933579" y="215209"/>
                  <a:pt x="5911652" y="205428"/>
                  <a:pt x="5889618" y="205428"/>
                </a:cubicBezTo>
                <a:close/>
                <a:moveTo>
                  <a:pt x="5596119" y="205428"/>
                </a:moveTo>
                <a:cubicBezTo>
                  <a:pt x="5594774" y="205261"/>
                  <a:pt x="5593438" y="205783"/>
                  <a:pt x="5592562" y="206816"/>
                </a:cubicBezTo>
                <a:cubicBezTo>
                  <a:pt x="5592280" y="207127"/>
                  <a:pt x="5592113" y="207525"/>
                  <a:pt x="5592085" y="207944"/>
                </a:cubicBezTo>
                <a:lnTo>
                  <a:pt x="5592085" y="271033"/>
                </a:lnTo>
                <a:cubicBezTo>
                  <a:pt x="5592096" y="271456"/>
                  <a:pt x="5592265" y="271859"/>
                  <a:pt x="5592562" y="272161"/>
                </a:cubicBezTo>
                <a:cubicBezTo>
                  <a:pt x="5593438" y="273194"/>
                  <a:pt x="5594774" y="273716"/>
                  <a:pt x="5596119" y="273549"/>
                </a:cubicBezTo>
                <a:lnTo>
                  <a:pt x="5656497" y="273549"/>
                </a:lnTo>
                <a:cubicBezTo>
                  <a:pt x="5658189" y="273549"/>
                  <a:pt x="5660141" y="272529"/>
                  <a:pt x="5660141" y="271792"/>
                </a:cubicBezTo>
                <a:lnTo>
                  <a:pt x="5663871" y="260493"/>
                </a:lnTo>
                <a:lnTo>
                  <a:pt x="5663871" y="260211"/>
                </a:lnTo>
                <a:cubicBezTo>
                  <a:pt x="5663871" y="259365"/>
                  <a:pt x="5662201" y="257782"/>
                  <a:pt x="5660141" y="257782"/>
                </a:cubicBezTo>
                <a:lnTo>
                  <a:pt x="5611040" y="257782"/>
                </a:lnTo>
                <a:lnTo>
                  <a:pt x="5610975" y="207944"/>
                </a:lnTo>
                <a:cubicBezTo>
                  <a:pt x="5610958" y="207526"/>
                  <a:pt x="5610797" y="207128"/>
                  <a:pt x="5610520" y="206816"/>
                </a:cubicBezTo>
                <a:cubicBezTo>
                  <a:pt x="5609643" y="205783"/>
                  <a:pt x="5608307" y="205261"/>
                  <a:pt x="5606963" y="205428"/>
                </a:cubicBezTo>
                <a:close/>
                <a:moveTo>
                  <a:pt x="5506895" y="205428"/>
                </a:moveTo>
                <a:cubicBezTo>
                  <a:pt x="5505557" y="205260"/>
                  <a:pt x="5504225" y="205783"/>
                  <a:pt x="5503360" y="206816"/>
                </a:cubicBezTo>
                <a:cubicBezTo>
                  <a:pt x="5503072" y="207122"/>
                  <a:pt x="5502903" y="207523"/>
                  <a:pt x="5502883" y="207944"/>
                </a:cubicBezTo>
                <a:lnTo>
                  <a:pt x="5502883" y="271033"/>
                </a:lnTo>
                <a:cubicBezTo>
                  <a:pt x="5502887" y="271438"/>
                  <a:pt x="5503015" y="271832"/>
                  <a:pt x="5503252" y="272161"/>
                </a:cubicBezTo>
                <a:cubicBezTo>
                  <a:pt x="5504143" y="273232"/>
                  <a:pt x="5505507" y="273793"/>
                  <a:pt x="5506895" y="273657"/>
                </a:cubicBezTo>
                <a:lnTo>
                  <a:pt x="5517739" y="273657"/>
                </a:lnTo>
                <a:cubicBezTo>
                  <a:pt x="5519101" y="273740"/>
                  <a:pt x="5520431" y="273226"/>
                  <a:pt x="5521383" y="272248"/>
                </a:cubicBezTo>
                <a:cubicBezTo>
                  <a:pt x="5521695" y="271922"/>
                  <a:pt x="5521866" y="271485"/>
                  <a:pt x="5521860" y="271033"/>
                </a:cubicBezTo>
                <a:lnTo>
                  <a:pt x="5521860" y="247415"/>
                </a:lnTo>
                <a:lnTo>
                  <a:pt x="5561331" y="247415"/>
                </a:lnTo>
                <a:lnTo>
                  <a:pt x="5561331" y="271055"/>
                </a:lnTo>
                <a:cubicBezTo>
                  <a:pt x="5561336" y="271460"/>
                  <a:pt x="5561464" y="271853"/>
                  <a:pt x="5561700" y="272183"/>
                </a:cubicBezTo>
                <a:cubicBezTo>
                  <a:pt x="5562591" y="273254"/>
                  <a:pt x="5563956" y="273815"/>
                  <a:pt x="5565344" y="273679"/>
                </a:cubicBezTo>
                <a:lnTo>
                  <a:pt x="5576187" y="273679"/>
                </a:lnTo>
                <a:cubicBezTo>
                  <a:pt x="5577575" y="273818"/>
                  <a:pt x="5578942" y="273257"/>
                  <a:pt x="5579831" y="272183"/>
                </a:cubicBezTo>
                <a:cubicBezTo>
                  <a:pt x="5580067" y="271853"/>
                  <a:pt x="5580195" y="271460"/>
                  <a:pt x="5580200" y="271055"/>
                </a:cubicBezTo>
                <a:lnTo>
                  <a:pt x="5580200" y="207944"/>
                </a:lnTo>
                <a:cubicBezTo>
                  <a:pt x="5580182" y="207527"/>
                  <a:pt x="5580022" y="207129"/>
                  <a:pt x="5579744" y="206816"/>
                </a:cubicBezTo>
                <a:cubicBezTo>
                  <a:pt x="5578868" y="205783"/>
                  <a:pt x="5577532" y="205261"/>
                  <a:pt x="5576187" y="205428"/>
                </a:cubicBezTo>
                <a:lnTo>
                  <a:pt x="5565344" y="205428"/>
                </a:lnTo>
                <a:cubicBezTo>
                  <a:pt x="5563001" y="205428"/>
                  <a:pt x="5561982" y="206447"/>
                  <a:pt x="5561808" y="206816"/>
                </a:cubicBezTo>
                <a:cubicBezTo>
                  <a:pt x="5561520" y="207122"/>
                  <a:pt x="5561351" y="207523"/>
                  <a:pt x="5561331" y="207944"/>
                </a:cubicBezTo>
                <a:lnTo>
                  <a:pt x="5561331" y="231648"/>
                </a:lnTo>
                <a:lnTo>
                  <a:pt x="5521860" y="231648"/>
                </a:lnTo>
                <a:lnTo>
                  <a:pt x="5521860" y="207944"/>
                </a:lnTo>
                <a:cubicBezTo>
                  <a:pt x="5521862" y="207493"/>
                  <a:pt x="5521693" y="207058"/>
                  <a:pt x="5521383" y="206729"/>
                </a:cubicBezTo>
                <a:cubicBezTo>
                  <a:pt x="5520398" y="205814"/>
                  <a:pt x="5519082" y="205344"/>
                  <a:pt x="5517739" y="205428"/>
                </a:cubicBezTo>
                <a:close/>
                <a:moveTo>
                  <a:pt x="5414571" y="205427"/>
                </a:moveTo>
                <a:cubicBezTo>
                  <a:pt x="5412598" y="205427"/>
                  <a:pt x="5411296" y="206360"/>
                  <a:pt x="5411296" y="207011"/>
                </a:cubicBezTo>
                <a:lnTo>
                  <a:pt x="5407566" y="217356"/>
                </a:lnTo>
                <a:cubicBezTo>
                  <a:pt x="5407479" y="217616"/>
                  <a:pt x="5407089" y="219785"/>
                  <a:pt x="5410928" y="219785"/>
                </a:cubicBezTo>
                <a:lnTo>
                  <a:pt x="5439859" y="219785"/>
                </a:lnTo>
                <a:lnTo>
                  <a:pt x="5439859" y="271315"/>
                </a:lnTo>
                <a:cubicBezTo>
                  <a:pt x="5440557" y="272676"/>
                  <a:pt x="5441974" y="273519"/>
                  <a:pt x="5443503" y="273483"/>
                </a:cubicBezTo>
                <a:lnTo>
                  <a:pt x="5455084" y="273483"/>
                </a:lnTo>
                <a:cubicBezTo>
                  <a:pt x="5456949" y="273483"/>
                  <a:pt x="5458727" y="271965"/>
                  <a:pt x="5458727" y="271315"/>
                </a:cubicBezTo>
                <a:lnTo>
                  <a:pt x="5458727" y="219785"/>
                </a:lnTo>
                <a:lnTo>
                  <a:pt x="5487659" y="219785"/>
                </a:lnTo>
                <a:cubicBezTo>
                  <a:pt x="5491476" y="219785"/>
                  <a:pt x="5491020" y="217551"/>
                  <a:pt x="5491020" y="217356"/>
                </a:cubicBezTo>
                <a:lnTo>
                  <a:pt x="5487095" y="207011"/>
                </a:lnTo>
                <a:cubicBezTo>
                  <a:pt x="5486397" y="205899"/>
                  <a:pt x="5485126" y="205285"/>
                  <a:pt x="5483820" y="205427"/>
                </a:cubicBezTo>
                <a:close/>
                <a:moveTo>
                  <a:pt x="5264948" y="203931"/>
                </a:moveTo>
                <a:cubicBezTo>
                  <a:pt x="5258552" y="204016"/>
                  <a:pt x="5252215" y="205152"/>
                  <a:pt x="5246188" y="207293"/>
                </a:cubicBezTo>
                <a:cubicBezTo>
                  <a:pt x="5226300" y="214276"/>
                  <a:pt x="5220336" y="228004"/>
                  <a:pt x="5220336" y="239499"/>
                </a:cubicBezTo>
                <a:cubicBezTo>
                  <a:pt x="5220336" y="261230"/>
                  <a:pt x="5245255" y="275045"/>
                  <a:pt x="5264948" y="275067"/>
                </a:cubicBezTo>
                <a:cubicBezTo>
                  <a:pt x="5288088" y="275067"/>
                  <a:pt x="5301361" y="263876"/>
                  <a:pt x="5306393" y="253704"/>
                </a:cubicBezTo>
                <a:cubicBezTo>
                  <a:pt x="5308544" y="249278"/>
                  <a:pt x="5309665" y="244421"/>
                  <a:pt x="5309668" y="239499"/>
                </a:cubicBezTo>
                <a:cubicBezTo>
                  <a:pt x="5309668" y="216250"/>
                  <a:pt x="5285573" y="203931"/>
                  <a:pt x="5264948" y="203931"/>
                </a:cubicBezTo>
                <a:close/>
                <a:moveTo>
                  <a:pt x="4880193" y="202289"/>
                </a:moveTo>
                <a:cubicBezTo>
                  <a:pt x="4816823" y="204180"/>
                  <a:pt x="4747735" y="240595"/>
                  <a:pt x="4725857" y="295541"/>
                </a:cubicBezTo>
                <a:cubicBezTo>
                  <a:pt x="4676756" y="418878"/>
                  <a:pt x="4785715" y="474139"/>
                  <a:pt x="4828483" y="485351"/>
                </a:cubicBezTo>
                <a:cubicBezTo>
                  <a:pt x="4866176" y="495262"/>
                  <a:pt x="4896951" y="490882"/>
                  <a:pt x="4941779" y="481014"/>
                </a:cubicBezTo>
                <a:cubicBezTo>
                  <a:pt x="5012958" y="465333"/>
                  <a:pt x="5234173" y="400075"/>
                  <a:pt x="5234173" y="400075"/>
                </a:cubicBezTo>
                <a:cubicBezTo>
                  <a:pt x="5075050" y="427597"/>
                  <a:pt x="4829437" y="518295"/>
                  <a:pt x="4764027" y="382725"/>
                </a:cubicBezTo>
                <a:cubicBezTo>
                  <a:pt x="4729891" y="286670"/>
                  <a:pt x="4854833" y="185649"/>
                  <a:pt x="4939697" y="212498"/>
                </a:cubicBezTo>
                <a:cubicBezTo>
                  <a:pt x="4921805" y="204864"/>
                  <a:pt x="4901317" y="201658"/>
                  <a:pt x="4880193" y="202289"/>
                </a:cubicBezTo>
                <a:close/>
                <a:moveTo>
                  <a:pt x="4917391" y="152090"/>
                </a:moveTo>
                <a:cubicBezTo>
                  <a:pt x="4899380" y="153177"/>
                  <a:pt x="4880479" y="156750"/>
                  <a:pt x="4858065" y="161727"/>
                </a:cubicBezTo>
                <a:cubicBezTo>
                  <a:pt x="4786908" y="177429"/>
                  <a:pt x="4565693" y="242666"/>
                  <a:pt x="4565693" y="242666"/>
                </a:cubicBezTo>
                <a:cubicBezTo>
                  <a:pt x="4724794" y="215144"/>
                  <a:pt x="4970407" y="124555"/>
                  <a:pt x="5035817" y="260016"/>
                </a:cubicBezTo>
                <a:cubicBezTo>
                  <a:pt x="5069954" y="356071"/>
                  <a:pt x="4945033" y="457092"/>
                  <a:pt x="4860147" y="430221"/>
                </a:cubicBezTo>
                <a:cubicBezTo>
                  <a:pt x="4931695" y="460757"/>
                  <a:pt x="5044839" y="420440"/>
                  <a:pt x="5074009" y="347179"/>
                </a:cubicBezTo>
                <a:cubicBezTo>
                  <a:pt x="5123197" y="223841"/>
                  <a:pt x="5014130" y="168581"/>
                  <a:pt x="4971383" y="157368"/>
                </a:cubicBezTo>
                <a:cubicBezTo>
                  <a:pt x="4952525" y="152402"/>
                  <a:pt x="4935403" y="151003"/>
                  <a:pt x="4917391" y="152090"/>
                </a:cubicBezTo>
                <a:close/>
                <a:moveTo>
                  <a:pt x="0" y="0"/>
                </a:moveTo>
                <a:lnTo>
                  <a:pt x="6097587" y="0"/>
                </a:lnTo>
                <a:lnTo>
                  <a:pt x="60975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CA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0C7D26A-0BF9-4CE7-B402-130EB724DC9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09CE7F-576A-4BBD-8D8E-0320E4A92457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FDD984-902D-48D1-BF97-4B5488A04F8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474072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alf Image + Content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phic 14">
            <a:extLst>
              <a:ext uri="{FF2B5EF4-FFF2-40B4-BE49-F238E27FC236}">
                <a16:creationId xmlns:a16="http://schemas.microsoft.com/office/drawing/2014/main" id="{2DB292C4-DAC2-4A32-B35B-19377C6023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328EDAFE-FCA5-48A6-8CE6-A15FA27EE7DF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94063" y="1371600"/>
            <a:ext cx="5248275" cy="5095875"/>
          </a:xfrm>
        </p:spPr>
        <p:txBody>
          <a:bodyPr/>
          <a:lstStyle/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55E84C5E-65E4-452E-924F-E15B7C27587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063" y="365740"/>
            <a:ext cx="5248275" cy="818822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Title]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23ADCBA-0E9C-4FEC-90E3-665C05B04661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0" indent="0" algn="l">
              <a:lnSpc>
                <a:spcPct val="90000"/>
              </a:lnSpc>
              <a:spcBef>
                <a:spcPts val="600"/>
              </a:spcBef>
              <a:buNone/>
            </a:pPr>
            <a:endParaRPr lang="en-US" sz="1400" dirty="0"/>
          </a:p>
          <a:p>
            <a:pPr marL="0" indent="0" algn="l">
              <a:lnSpc>
                <a:spcPct val="90000"/>
              </a:lnSpc>
              <a:spcBef>
                <a:spcPts val="600"/>
              </a:spcBef>
              <a:buNone/>
            </a:pPr>
            <a:r>
              <a:rPr lang="en-US" sz="1400" b="1" dirty="0"/>
              <a:t>Do not resize the </a:t>
            </a:r>
            <a:br>
              <a:rPr lang="en-US" sz="1400" b="1" dirty="0"/>
            </a:br>
            <a:r>
              <a:rPr lang="en-US" sz="1400" b="1" dirty="0"/>
              <a:t>image placeholder! 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DD977E78-5F33-4434-A93B-6EB9435E88C7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5172ABD-632C-4AFF-8E2D-B5F54DA07EB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F9830125-5FF4-41F3-85B2-CF58A6E682F6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6" name="Image Placeholder">
            <a:extLst>
              <a:ext uri="{FF2B5EF4-FFF2-40B4-BE49-F238E27FC236}">
                <a16:creationId xmlns:a16="http://schemas.microsoft.com/office/drawing/2014/main" id="{D10FEDCA-5073-401F-88EF-F709EEF4DF5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4413" y="0"/>
            <a:ext cx="6097587" cy="6858000"/>
          </a:xfrm>
          <a:custGeom>
            <a:avLst/>
            <a:gdLst>
              <a:gd name="connsiteX0" fmla="*/ 5596943 w 6097587"/>
              <a:gd name="connsiteY0" fmla="*/ 346463 h 6858000"/>
              <a:gd name="connsiteX1" fmla="*/ 5596943 w 6097587"/>
              <a:gd name="connsiteY1" fmla="*/ 346658 h 6858000"/>
              <a:gd name="connsiteX2" fmla="*/ 5594340 w 6097587"/>
              <a:gd name="connsiteY2" fmla="*/ 346658 h 6858000"/>
              <a:gd name="connsiteX3" fmla="*/ 5596943 w 6097587"/>
              <a:gd name="connsiteY3" fmla="*/ 346463 h 6858000"/>
              <a:gd name="connsiteX4" fmla="*/ 5558013 w 6097587"/>
              <a:gd name="connsiteY4" fmla="*/ 318920 h 6858000"/>
              <a:gd name="connsiteX5" fmla="*/ 5593950 w 6097587"/>
              <a:gd name="connsiteY5" fmla="*/ 318920 h 6858000"/>
              <a:gd name="connsiteX6" fmla="*/ 5599003 w 6097587"/>
              <a:gd name="connsiteY6" fmla="*/ 325752 h 6858000"/>
              <a:gd name="connsiteX7" fmla="*/ 5599005 w 6097587"/>
              <a:gd name="connsiteY7" fmla="*/ 325949 h 6858000"/>
              <a:gd name="connsiteX8" fmla="*/ 5593950 w 6097587"/>
              <a:gd name="connsiteY8" fmla="*/ 330870 h 6858000"/>
              <a:gd name="connsiteX9" fmla="*/ 5558013 w 6097587"/>
              <a:gd name="connsiteY9" fmla="*/ 330870 h 6858000"/>
              <a:gd name="connsiteX10" fmla="*/ 5152236 w 6097587"/>
              <a:gd name="connsiteY10" fmla="*/ 318876 h 6858000"/>
              <a:gd name="connsiteX11" fmla="*/ 5188173 w 6097587"/>
              <a:gd name="connsiteY11" fmla="*/ 318876 h 6858000"/>
              <a:gd name="connsiteX12" fmla="*/ 5193204 w 6097587"/>
              <a:gd name="connsiteY12" fmla="*/ 326358 h 6858000"/>
              <a:gd name="connsiteX13" fmla="*/ 5187977 w 6097587"/>
              <a:gd name="connsiteY13" fmla="*/ 332409 h 6858000"/>
              <a:gd name="connsiteX14" fmla="*/ 5152236 w 6097587"/>
              <a:gd name="connsiteY14" fmla="*/ 332409 h 6858000"/>
              <a:gd name="connsiteX15" fmla="*/ 5269242 w 6097587"/>
              <a:gd name="connsiteY15" fmla="*/ 317575 h 6858000"/>
              <a:gd name="connsiteX16" fmla="*/ 5295007 w 6097587"/>
              <a:gd name="connsiteY16" fmla="*/ 337268 h 6858000"/>
              <a:gd name="connsiteX17" fmla="*/ 5292838 w 6097587"/>
              <a:gd name="connsiteY17" fmla="*/ 345119 h 6858000"/>
              <a:gd name="connsiteX18" fmla="*/ 5269307 w 6097587"/>
              <a:gd name="connsiteY18" fmla="*/ 357069 h 6858000"/>
              <a:gd name="connsiteX19" fmla="*/ 5243650 w 6097587"/>
              <a:gd name="connsiteY19" fmla="*/ 337268 h 6858000"/>
              <a:gd name="connsiteX20" fmla="*/ 5245906 w 6097587"/>
              <a:gd name="connsiteY20" fmla="*/ 328875 h 6858000"/>
              <a:gd name="connsiteX21" fmla="*/ 5269242 w 6097587"/>
              <a:gd name="connsiteY21" fmla="*/ 317575 h 6858000"/>
              <a:gd name="connsiteX22" fmla="*/ 5456710 w 6097587"/>
              <a:gd name="connsiteY22" fmla="*/ 303283 h 6858000"/>
              <a:gd name="connsiteX23" fmla="*/ 5452980 w 6097587"/>
              <a:gd name="connsiteY23" fmla="*/ 304693 h 6858000"/>
              <a:gd name="connsiteX24" fmla="*/ 5452416 w 6097587"/>
              <a:gd name="connsiteY24" fmla="*/ 305994 h 6858000"/>
              <a:gd name="connsiteX25" fmla="*/ 5452416 w 6097587"/>
              <a:gd name="connsiteY25" fmla="*/ 368259 h 6858000"/>
              <a:gd name="connsiteX26" fmla="*/ 5452980 w 6097587"/>
              <a:gd name="connsiteY26" fmla="*/ 369582 h 6858000"/>
              <a:gd name="connsiteX27" fmla="*/ 5456710 w 6097587"/>
              <a:gd name="connsiteY27" fmla="*/ 371079 h 6858000"/>
              <a:gd name="connsiteX28" fmla="*/ 5517718 w 6097587"/>
              <a:gd name="connsiteY28" fmla="*/ 371079 h 6858000"/>
              <a:gd name="connsiteX29" fmla="*/ 5521448 w 6097587"/>
              <a:gd name="connsiteY29" fmla="*/ 369105 h 6858000"/>
              <a:gd name="connsiteX30" fmla="*/ 5524983 w 6097587"/>
              <a:gd name="connsiteY30" fmla="*/ 358261 h 6858000"/>
              <a:gd name="connsiteX31" fmla="*/ 5525178 w 6097587"/>
              <a:gd name="connsiteY31" fmla="*/ 357806 h 6858000"/>
              <a:gd name="connsiteX32" fmla="*/ 5521253 w 6097587"/>
              <a:gd name="connsiteY32" fmla="*/ 355377 h 6858000"/>
              <a:gd name="connsiteX33" fmla="*/ 5471371 w 6097587"/>
              <a:gd name="connsiteY33" fmla="*/ 355377 h 6858000"/>
              <a:gd name="connsiteX34" fmla="*/ 5471371 w 6097587"/>
              <a:gd name="connsiteY34" fmla="*/ 345162 h 6858000"/>
              <a:gd name="connsiteX35" fmla="*/ 5504206 w 6097587"/>
              <a:gd name="connsiteY35" fmla="*/ 345162 h 6858000"/>
              <a:gd name="connsiteX36" fmla="*/ 5508023 w 6097587"/>
              <a:gd name="connsiteY36" fmla="*/ 342993 h 6858000"/>
              <a:gd name="connsiteX37" fmla="*/ 5511667 w 6097587"/>
              <a:gd name="connsiteY37" fmla="*/ 331976 h 6858000"/>
              <a:gd name="connsiteX38" fmla="*/ 5511667 w 6097587"/>
              <a:gd name="connsiteY38" fmla="*/ 331781 h 6858000"/>
              <a:gd name="connsiteX39" fmla="*/ 5507828 w 6097587"/>
              <a:gd name="connsiteY39" fmla="*/ 329265 h 6858000"/>
              <a:gd name="connsiteX40" fmla="*/ 5471436 w 6097587"/>
              <a:gd name="connsiteY40" fmla="*/ 329265 h 6858000"/>
              <a:gd name="connsiteX41" fmla="*/ 5471436 w 6097587"/>
              <a:gd name="connsiteY41" fmla="*/ 319006 h 6858000"/>
              <a:gd name="connsiteX42" fmla="*/ 5521318 w 6097587"/>
              <a:gd name="connsiteY42" fmla="*/ 319006 h 6858000"/>
              <a:gd name="connsiteX43" fmla="*/ 5525243 w 6097587"/>
              <a:gd name="connsiteY43" fmla="*/ 316577 h 6858000"/>
              <a:gd name="connsiteX44" fmla="*/ 5525048 w 6097587"/>
              <a:gd name="connsiteY44" fmla="*/ 316014 h 6858000"/>
              <a:gd name="connsiteX45" fmla="*/ 5521513 w 6097587"/>
              <a:gd name="connsiteY45" fmla="*/ 305170 h 6858000"/>
              <a:gd name="connsiteX46" fmla="*/ 5517783 w 6097587"/>
              <a:gd name="connsiteY46" fmla="*/ 303283 h 6858000"/>
              <a:gd name="connsiteX47" fmla="*/ 5542810 w 6097587"/>
              <a:gd name="connsiteY47" fmla="*/ 303218 h 6858000"/>
              <a:gd name="connsiteX48" fmla="*/ 5539080 w 6097587"/>
              <a:gd name="connsiteY48" fmla="*/ 305387 h 6858000"/>
              <a:gd name="connsiteX49" fmla="*/ 5539080 w 6097587"/>
              <a:gd name="connsiteY49" fmla="*/ 368953 h 6858000"/>
              <a:gd name="connsiteX50" fmla="*/ 5542810 w 6097587"/>
              <a:gd name="connsiteY50" fmla="*/ 371296 h 6858000"/>
              <a:gd name="connsiteX51" fmla="*/ 5554283 w 6097587"/>
              <a:gd name="connsiteY51" fmla="*/ 371296 h 6858000"/>
              <a:gd name="connsiteX52" fmla="*/ 5558013 w 6097587"/>
              <a:gd name="connsiteY52" fmla="*/ 368953 h 6858000"/>
              <a:gd name="connsiteX53" fmla="*/ 5558013 w 6097587"/>
              <a:gd name="connsiteY53" fmla="*/ 346658 h 6858000"/>
              <a:gd name="connsiteX54" fmla="*/ 5575949 w 6097587"/>
              <a:gd name="connsiteY54" fmla="*/ 346658 h 6858000"/>
              <a:gd name="connsiteX55" fmla="*/ 5598157 w 6097587"/>
              <a:gd name="connsiteY55" fmla="*/ 370255 h 6858000"/>
              <a:gd name="connsiteX56" fmla="*/ 5601324 w 6097587"/>
              <a:gd name="connsiteY56" fmla="*/ 371382 h 6858000"/>
              <a:gd name="connsiteX57" fmla="*/ 5616093 w 6097587"/>
              <a:gd name="connsiteY57" fmla="*/ 371382 h 6858000"/>
              <a:gd name="connsiteX58" fmla="*/ 5619715 w 6097587"/>
              <a:gd name="connsiteY58" fmla="*/ 369214 h 6858000"/>
              <a:gd name="connsiteX59" fmla="*/ 5619259 w 6097587"/>
              <a:gd name="connsiteY59" fmla="*/ 368086 h 6858000"/>
              <a:gd name="connsiteX60" fmla="*/ 5618414 w 6097587"/>
              <a:gd name="connsiteY60" fmla="*/ 367153 h 6858000"/>
              <a:gd name="connsiteX61" fmla="*/ 5615898 w 6097587"/>
              <a:gd name="connsiteY61" fmla="*/ 364356 h 6858000"/>
              <a:gd name="connsiteX62" fmla="*/ 5608155 w 6097587"/>
              <a:gd name="connsiteY62" fmla="*/ 356331 h 6858000"/>
              <a:gd name="connsiteX63" fmla="*/ 5600391 w 6097587"/>
              <a:gd name="connsiteY63" fmla="*/ 348198 h 6858000"/>
              <a:gd name="connsiteX64" fmla="*/ 5598721 w 6097587"/>
              <a:gd name="connsiteY64" fmla="*/ 346333 h 6858000"/>
              <a:gd name="connsiteX65" fmla="*/ 5617936 w 6097587"/>
              <a:gd name="connsiteY65" fmla="*/ 325817 h 6858000"/>
              <a:gd name="connsiteX66" fmla="*/ 5593950 w 6097587"/>
              <a:gd name="connsiteY66" fmla="*/ 303218 h 6858000"/>
              <a:gd name="connsiteX67" fmla="*/ 5137206 w 6097587"/>
              <a:gd name="connsiteY67" fmla="*/ 303109 h 6858000"/>
              <a:gd name="connsiteX68" fmla="*/ 5133281 w 6097587"/>
              <a:gd name="connsiteY68" fmla="*/ 305625 h 6858000"/>
              <a:gd name="connsiteX69" fmla="*/ 5133281 w 6097587"/>
              <a:gd name="connsiteY69" fmla="*/ 368910 h 6858000"/>
              <a:gd name="connsiteX70" fmla="*/ 5137206 w 6097587"/>
              <a:gd name="connsiteY70" fmla="*/ 371339 h 6858000"/>
              <a:gd name="connsiteX71" fmla="*/ 5148311 w 6097587"/>
              <a:gd name="connsiteY71" fmla="*/ 371339 h 6858000"/>
              <a:gd name="connsiteX72" fmla="*/ 5152236 w 6097587"/>
              <a:gd name="connsiteY72" fmla="*/ 368910 h 6858000"/>
              <a:gd name="connsiteX73" fmla="*/ 5152236 w 6097587"/>
              <a:gd name="connsiteY73" fmla="*/ 348198 h 6858000"/>
              <a:gd name="connsiteX74" fmla="*/ 5187760 w 6097587"/>
              <a:gd name="connsiteY74" fmla="*/ 348219 h 6858000"/>
              <a:gd name="connsiteX75" fmla="*/ 5212116 w 6097587"/>
              <a:gd name="connsiteY75" fmla="*/ 326532 h 6858000"/>
              <a:gd name="connsiteX76" fmla="*/ 5212116 w 6097587"/>
              <a:gd name="connsiteY76" fmla="*/ 326163 h 6858000"/>
              <a:gd name="connsiteX77" fmla="*/ 5188129 w 6097587"/>
              <a:gd name="connsiteY77" fmla="*/ 303109 h 6858000"/>
              <a:gd name="connsiteX78" fmla="*/ 5323873 w 6097587"/>
              <a:gd name="connsiteY78" fmla="*/ 303088 h 6858000"/>
              <a:gd name="connsiteX79" fmla="*/ 5320316 w 6097587"/>
              <a:gd name="connsiteY79" fmla="*/ 305257 h 6858000"/>
              <a:gd name="connsiteX80" fmla="*/ 5320424 w 6097587"/>
              <a:gd name="connsiteY80" fmla="*/ 305907 h 6858000"/>
              <a:gd name="connsiteX81" fmla="*/ 5349985 w 6097587"/>
              <a:gd name="connsiteY81" fmla="*/ 369951 h 6858000"/>
              <a:gd name="connsiteX82" fmla="*/ 5351763 w 6097587"/>
              <a:gd name="connsiteY82" fmla="*/ 371361 h 6858000"/>
              <a:gd name="connsiteX83" fmla="*/ 5352501 w 6097587"/>
              <a:gd name="connsiteY83" fmla="*/ 371534 h 6858000"/>
              <a:gd name="connsiteX84" fmla="*/ 5362217 w 6097587"/>
              <a:gd name="connsiteY84" fmla="*/ 371534 h 6858000"/>
              <a:gd name="connsiteX85" fmla="*/ 5365665 w 6097587"/>
              <a:gd name="connsiteY85" fmla="*/ 369864 h 6858000"/>
              <a:gd name="connsiteX86" fmla="*/ 5380413 w 6097587"/>
              <a:gd name="connsiteY86" fmla="*/ 334383 h 6858000"/>
              <a:gd name="connsiteX87" fmla="*/ 5395074 w 6097587"/>
              <a:gd name="connsiteY87" fmla="*/ 369864 h 6858000"/>
              <a:gd name="connsiteX88" fmla="*/ 5396093 w 6097587"/>
              <a:gd name="connsiteY88" fmla="*/ 370992 h 6858000"/>
              <a:gd name="connsiteX89" fmla="*/ 5397134 w 6097587"/>
              <a:gd name="connsiteY89" fmla="*/ 371534 h 6858000"/>
              <a:gd name="connsiteX90" fmla="*/ 5407392 w 6097587"/>
              <a:gd name="connsiteY90" fmla="*/ 371534 h 6858000"/>
              <a:gd name="connsiteX91" fmla="*/ 5410841 w 6097587"/>
              <a:gd name="connsiteY91" fmla="*/ 369951 h 6858000"/>
              <a:gd name="connsiteX92" fmla="*/ 5440444 w 6097587"/>
              <a:gd name="connsiteY92" fmla="*/ 306016 h 6858000"/>
              <a:gd name="connsiteX93" fmla="*/ 5440444 w 6097587"/>
              <a:gd name="connsiteY93" fmla="*/ 305365 h 6858000"/>
              <a:gd name="connsiteX94" fmla="*/ 5436909 w 6097587"/>
              <a:gd name="connsiteY94" fmla="*/ 303196 h 6858000"/>
              <a:gd name="connsiteX95" fmla="*/ 5423072 w 6097587"/>
              <a:gd name="connsiteY95" fmla="*/ 303196 h 6858000"/>
              <a:gd name="connsiteX96" fmla="*/ 5422335 w 6097587"/>
              <a:gd name="connsiteY96" fmla="*/ 303391 h 6858000"/>
              <a:gd name="connsiteX97" fmla="*/ 5420470 w 6097587"/>
              <a:gd name="connsiteY97" fmla="*/ 304779 h 6858000"/>
              <a:gd name="connsiteX98" fmla="*/ 5403488 w 6097587"/>
              <a:gd name="connsiteY98" fmla="*/ 341649 h 6858000"/>
              <a:gd name="connsiteX99" fmla="*/ 5390454 w 6097587"/>
              <a:gd name="connsiteY99" fmla="*/ 309724 h 6858000"/>
              <a:gd name="connsiteX100" fmla="*/ 5388285 w 6097587"/>
              <a:gd name="connsiteY100" fmla="*/ 304779 h 6858000"/>
              <a:gd name="connsiteX101" fmla="*/ 5384837 w 6097587"/>
              <a:gd name="connsiteY101" fmla="*/ 303088 h 6858000"/>
              <a:gd name="connsiteX102" fmla="*/ 5376162 w 6097587"/>
              <a:gd name="connsiteY102" fmla="*/ 303088 h 6858000"/>
              <a:gd name="connsiteX103" fmla="*/ 5372713 w 6097587"/>
              <a:gd name="connsiteY103" fmla="*/ 304779 h 6858000"/>
              <a:gd name="connsiteX104" fmla="*/ 5370545 w 6097587"/>
              <a:gd name="connsiteY104" fmla="*/ 309724 h 6858000"/>
              <a:gd name="connsiteX105" fmla="*/ 5357294 w 6097587"/>
              <a:gd name="connsiteY105" fmla="*/ 341540 h 6858000"/>
              <a:gd name="connsiteX106" fmla="*/ 5340204 w 6097587"/>
              <a:gd name="connsiteY106" fmla="*/ 304671 h 6858000"/>
              <a:gd name="connsiteX107" fmla="*/ 5336755 w 6097587"/>
              <a:gd name="connsiteY107" fmla="*/ 303088 h 6858000"/>
              <a:gd name="connsiteX108" fmla="*/ 5269307 w 6097587"/>
              <a:gd name="connsiteY108" fmla="*/ 301700 h 6858000"/>
              <a:gd name="connsiteX109" fmla="*/ 5250547 w 6097587"/>
              <a:gd name="connsiteY109" fmla="*/ 305062 h 6858000"/>
              <a:gd name="connsiteX110" fmla="*/ 5224695 w 6097587"/>
              <a:gd name="connsiteY110" fmla="*/ 337268 h 6858000"/>
              <a:gd name="connsiteX111" fmla="*/ 5269307 w 6097587"/>
              <a:gd name="connsiteY111" fmla="*/ 372836 h 6858000"/>
              <a:gd name="connsiteX112" fmla="*/ 5310752 w 6097587"/>
              <a:gd name="connsiteY112" fmla="*/ 351452 h 6858000"/>
              <a:gd name="connsiteX113" fmla="*/ 5314027 w 6097587"/>
              <a:gd name="connsiteY113" fmla="*/ 337268 h 6858000"/>
              <a:gd name="connsiteX114" fmla="*/ 5269307 w 6097587"/>
              <a:gd name="connsiteY114" fmla="*/ 301700 h 6858000"/>
              <a:gd name="connsiteX115" fmla="*/ 5377377 w 6097587"/>
              <a:gd name="connsiteY115" fmla="*/ 248738 h 6858000"/>
              <a:gd name="connsiteX116" fmla="*/ 5377377 w 6097587"/>
              <a:gd name="connsiteY116" fmla="*/ 248912 h 6858000"/>
              <a:gd name="connsiteX117" fmla="*/ 5374774 w 6097587"/>
              <a:gd name="connsiteY117" fmla="*/ 248912 h 6858000"/>
              <a:gd name="connsiteX118" fmla="*/ 5377377 w 6097587"/>
              <a:gd name="connsiteY118" fmla="*/ 248738 h 6858000"/>
              <a:gd name="connsiteX119" fmla="*/ 5711563 w 6097587"/>
              <a:gd name="connsiteY119" fmla="*/ 226898 h 6858000"/>
              <a:gd name="connsiteX120" fmla="*/ 5721647 w 6097587"/>
              <a:gd name="connsiteY120" fmla="*/ 246678 h 6858000"/>
              <a:gd name="connsiteX121" fmla="*/ 5701413 w 6097587"/>
              <a:gd name="connsiteY121" fmla="*/ 246678 h 6858000"/>
              <a:gd name="connsiteX122" fmla="*/ 5702736 w 6097587"/>
              <a:gd name="connsiteY122" fmla="*/ 244357 h 6858000"/>
              <a:gd name="connsiteX123" fmla="*/ 5707073 w 6097587"/>
              <a:gd name="connsiteY123" fmla="*/ 235573 h 6858000"/>
              <a:gd name="connsiteX124" fmla="*/ 5711563 w 6097587"/>
              <a:gd name="connsiteY124" fmla="*/ 226898 h 6858000"/>
              <a:gd name="connsiteX125" fmla="*/ 5338469 w 6097587"/>
              <a:gd name="connsiteY125" fmla="*/ 221195 h 6858000"/>
              <a:gd name="connsiteX126" fmla="*/ 5374406 w 6097587"/>
              <a:gd name="connsiteY126" fmla="*/ 221195 h 6858000"/>
              <a:gd name="connsiteX127" fmla="*/ 5379437 w 6097587"/>
              <a:gd name="connsiteY127" fmla="*/ 228005 h 6858000"/>
              <a:gd name="connsiteX128" fmla="*/ 5379439 w 6097587"/>
              <a:gd name="connsiteY128" fmla="*/ 228203 h 6858000"/>
              <a:gd name="connsiteX129" fmla="*/ 5374406 w 6097587"/>
              <a:gd name="connsiteY129" fmla="*/ 233145 h 6858000"/>
              <a:gd name="connsiteX130" fmla="*/ 5338469 w 6097587"/>
              <a:gd name="connsiteY130" fmla="*/ 233145 h 6858000"/>
              <a:gd name="connsiteX131" fmla="*/ 5870229 w 6097587"/>
              <a:gd name="connsiteY131" fmla="*/ 221173 h 6858000"/>
              <a:gd name="connsiteX132" fmla="*/ 5889553 w 6097587"/>
              <a:gd name="connsiteY132" fmla="*/ 221195 h 6858000"/>
              <a:gd name="connsiteX133" fmla="*/ 5914667 w 6097587"/>
              <a:gd name="connsiteY133" fmla="*/ 239586 h 6858000"/>
              <a:gd name="connsiteX134" fmla="*/ 5889553 w 6097587"/>
              <a:gd name="connsiteY134" fmla="*/ 257869 h 6858000"/>
              <a:gd name="connsiteX135" fmla="*/ 5870229 w 6097587"/>
              <a:gd name="connsiteY135" fmla="*/ 257869 h 6858000"/>
              <a:gd name="connsiteX136" fmla="*/ 5264883 w 6097587"/>
              <a:gd name="connsiteY136" fmla="*/ 219785 h 6858000"/>
              <a:gd name="connsiteX137" fmla="*/ 5290647 w 6097587"/>
              <a:gd name="connsiteY137" fmla="*/ 239499 h 6858000"/>
              <a:gd name="connsiteX138" fmla="*/ 5288479 w 6097587"/>
              <a:gd name="connsiteY138" fmla="*/ 247328 h 6858000"/>
              <a:gd name="connsiteX139" fmla="*/ 5264948 w 6097587"/>
              <a:gd name="connsiteY139" fmla="*/ 259278 h 6858000"/>
              <a:gd name="connsiteX140" fmla="*/ 5239269 w 6097587"/>
              <a:gd name="connsiteY140" fmla="*/ 239499 h 6858000"/>
              <a:gd name="connsiteX141" fmla="*/ 5241547 w 6097587"/>
              <a:gd name="connsiteY141" fmla="*/ 231084 h 6858000"/>
              <a:gd name="connsiteX142" fmla="*/ 5264883 w 6097587"/>
              <a:gd name="connsiteY142" fmla="*/ 219785 h 6858000"/>
              <a:gd name="connsiteX143" fmla="*/ 5704796 w 6097587"/>
              <a:gd name="connsiteY143" fmla="*/ 205536 h 6858000"/>
              <a:gd name="connsiteX144" fmla="*/ 5701044 w 6097587"/>
              <a:gd name="connsiteY144" fmla="*/ 207206 h 6858000"/>
              <a:gd name="connsiteX145" fmla="*/ 5668512 w 6097587"/>
              <a:gd name="connsiteY145" fmla="*/ 270491 h 6858000"/>
              <a:gd name="connsiteX146" fmla="*/ 5668339 w 6097587"/>
              <a:gd name="connsiteY146" fmla="*/ 271336 h 6858000"/>
              <a:gd name="connsiteX147" fmla="*/ 5672264 w 6097587"/>
              <a:gd name="connsiteY147" fmla="*/ 273766 h 6858000"/>
              <a:gd name="connsiteX148" fmla="*/ 5684757 w 6097587"/>
              <a:gd name="connsiteY148" fmla="*/ 273766 h 6858000"/>
              <a:gd name="connsiteX149" fmla="*/ 5688508 w 6097587"/>
              <a:gd name="connsiteY149" fmla="*/ 271987 h 6858000"/>
              <a:gd name="connsiteX150" fmla="*/ 5693453 w 6097587"/>
              <a:gd name="connsiteY150" fmla="*/ 262379 h 6858000"/>
              <a:gd name="connsiteX151" fmla="*/ 5729737 w 6097587"/>
              <a:gd name="connsiteY151" fmla="*/ 262379 h 6858000"/>
              <a:gd name="connsiteX152" fmla="*/ 5734877 w 6097587"/>
              <a:gd name="connsiteY152" fmla="*/ 271987 h 6858000"/>
              <a:gd name="connsiteX153" fmla="*/ 5738607 w 6097587"/>
              <a:gd name="connsiteY153" fmla="*/ 273766 h 6858000"/>
              <a:gd name="connsiteX154" fmla="*/ 5751121 w 6097587"/>
              <a:gd name="connsiteY154" fmla="*/ 273766 h 6858000"/>
              <a:gd name="connsiteX155" fmla="*/ 5754678 w 6097587"/>
              <a:gd name="connsiteY155" fmla="*/ 272182 h 6858000"/>
              <a:gd name="connsiteX156" fmla="*/ 5754678 w 6097587"/>
              <a:gd name="connsiteY156" fmla="*/ 270491 h 6858000"/>
              <a:gd name="connsiteX157" fmla="*/ 5722146 w 6097587"/>
              <a:gd name="connsiteY157" fmla="*/ 207206 h 6858000"/>
              <a:gd name="connsiteX158" fmla="*/ 5718416 w 6097587"/>
              <a:gd name="connsiteY158" fmla="*/ 205536 h 6858000"/>
              <a:gd name="connsiteX159" fmla="*/ 5323244 w 6097587"/>
              <a:gd name="connsiteY159" fmla="*/ 205493 h 6858000"/>
              <a:gd name="connsiteX160" fmla="*/ 5319514 w 6097587"/>
              <a:gd name="connsiteY160" fmla="*/ 207662 h 6858000"/>
              <a:gd name="connsiteX161" fmla="*/ 5319514 w 6097587"/>
              <a:gd name="connsiteY161" fmla="*/ 271228 h 6858000"/>
              <a:gd name="connsiteX162" fmla="*/ 5323244 w 6097587"/>
              <a:gd name="connsiteY162" fmla="*/ 273549 h 6858000"/>
              <a:gd name="connsiteX163" fmla="*/ 5334717 w 6097587"/>
              <a:gd name="connsiteY163" fmla="*/ 273549 h 6858000"/>
              <a:gd name="connsiteX164" fmla="*/ 5338469 w 6097587"/>
              <a:gd name="connsiteY164" fmla="*/ 271228 h 6858000"/>
              <a:gd name="connsiteX165" fmla="*/ 5338469 w 6097587"/>
              <a:gd name="connsiteY165" fmla="*/ 248912 h 6858000"/>
              <a:gd name="connsiteX166" fmla="*/ 5356383 w 6097587"/>
              <a:gd name="connsiteY166" fmla="*/ 248912 h 6858000"/>
              <a:gd name="connsiteX167" fmla="*/ 5378591 w 6097587"/>
              <a:gd name="connsiteY167" fmla="*/ 272551 h 6858000"/>
              <a:gd name="connsiteX168" fmla="*/ 5381779 w 6097587"/>
              <a:gd name="connsiteY168" fmla="*/ 273657 h 6858000"/>
              <a:gd name="connsiteX169" fmla="*/ 5396527 w 6097587"/>
              <a:gd name="connsiteY169" fmla="*/ 273657 h 6858000"/>
              <a:gd name="connsiteX170" fmla="*/ 5400171 w 6097587"/>
              <a:gd name="connsiteY170" fmla="*/ 271489 h 6858000"/>
              <a:gd name="connsiteX171" fmla="*/ 5399693 w 6097587"/>
              <a:gd name="connsiteY171" fmla="*/ 270361 h 6858000"/>
              <a:gd name="connsiteX172" fmla="*/ 5398848 w 6097587"/>
              <a:gd name="connsiteY172" fmla="*/ 269428 h 6858000"/>
              <a:gd name="connsiteX173" fmla="*/ 5396332 w 6097587"/>
              <a:gd name="connsiteY173" fmla="*/ 266631 h 6858000"/>
              <a:gd name="connsiteX174" fmla="*/ 5388589 w 6097587"/>
              <a:gd name="connsiteY174" fmla="*/ 258606 h 6858000"/>
              <a:gd name="connsiteX175" fmla="*/ 5380847 w 6097587"/>
              <a:gd name="connsiteY175" fmla="*/ 250473 h 6858000"/>
              <a:gd name="connsiteX176" fmla="*/ 5379155 w 6097587"/>
              <a:gd name="connsiteY176" fmla="*/ 248608 h 6858000"/>
              <a:gd name="connsiteX177" fmla="*/ 5398392 w 6097587"/>
              <a:gd name="connsiteY177" fmla="*/ 228070 h 6858000"/>
              <a:gd name="connsiteX178" fmla="*/ 5374406 w 6097587"/>
              <a:gd name="connsiteY178" fmla="*/ 205493 h 6858000"/>
              <a:gd name="connsiteX179" fmla="*/ 5824555 w 6097587"/>
              <a:gd name="connsiteY179" fmla="*/ 205472 h 6858000"/>
              <a:gd name="connsiteX180" fmla="*/ 5820911 w 6097587"/>
              <a:gd name="connsiteY180" fmla="*/ 206860 h 6858000"/>
              <a:gd name="connsiteX181" fmla="*/ 5820434 w 6097587"/>
              <a:gd name="connsiteY181" fmla="*/ 208074 h 6858000"/>
              <a:gd name="connsiteX182" fmla="*/ 5820434 w 6097587"/>
              <a:gd name="connsiteY182" fmla="*/ 246071 h 6858000"/>
              <a:gd name="connsiteX183" fmla="*/ 5778794 w 6097587"/>
              <a:gd name="connsiteY183" fmla="*/ 206664 h 6858000"/>
              <a:gd name="connsiteX184" fmla="*/ 5775432 w 6097587"/>
              <a:gd name="connsiteY184" fmla="*/ 205558 h 6858000"/>
              <a:gd name="connsiteX185" fmla="*/ 5766280 w 6097587"/>
              <a:gd name="connsiteY185" fmla="*/ 205558 h 6858000"/>
              <a:gd name="connsiteX186" fmla="*/ 5762636 w 6097587"/>
              <a:gd name="connsiteY186" fmla="*/ 206946 h 6858000"/>
              <a:gd name="connsiteX187" fmla="*/ 5762181 w 6097587"/>
              <a:gd name="connsiteY187" fmla="*/ 208161 h 6858000"/>
              <a:gd name="connsiteX188" fmla="*/ 5762181 w 6097587"/>
              <a:gd name="connsiteY188" fmla="*/ 271055 h 6858000"/>
              <a:gd name="connsiteX189" fmla="*/ 5762636 w 6097587"/>
              <a:gd name="connsiteY189" fmla="*/ 272270 h 6858000"/>
              <a:gd name="connsiteX190" fmla="*/ 5766280 w 6097587"/>
              <a:gd name="connsiteY190" fmla="*/ 273658 h 6858000"/>
              <a:gd name="connsiteX191" fmla="*/ 5776929 w 6097587"/>
              <a:gd name="connsiteY191" fmla="*/ 273658 h 6858000"/>
              <a:gd name="connsiteX192" fmla="*/ 5781136 w 6097587"/>
              <a:gd name="connsiteY192" fmla="*/ 271055 h 6858000"/>
              <a:gd name="connsiteX193" fmla="*/ 5781136 w 6097587"/>
              <a:gd name="connsiteY193" fmla="*/ 232668 h 6858000"/>
              <a:gd name="connsiteX194" fmla="*/ 5823189 w 6097587"/>
              <a:gd name="connsiteY194" fmla="*/ 272552 h 6858000"/>
              <a:gd name="connsiteX195" fmla="*/ 5826637 w 6097587"/>
              <a:gd name="connsiteY195" fmla="*/ 273658 h 6858000"/>
              <a:gd name="connsiteX196" fmla="*/ 5835312 w 6097587"/>
              <a:gd name="connsiteY196" fmla="*/ 273658 h 6858000"/>
              <a:gd name="connsiteX197" fmla="*/ 5839042 w 6097587"/>
              <a:gd name="connsiteY197" fmla="*/ 272183 h 6858000"/>
              <a:gd name="connsiteX198" fmla="*/ 5839498 w 6097587"/>
              <a:gd name="connsiteY198" fmla="*/ 270968 h 6858000"/>
              <a:gd name="connsiteX199" fmla="*/ 5839498 w 6097587"/>
              <a:gd name="connsiteY199" fmla="*/ 208074 h 6858000"/>
              <a:gd name="connsiteX200" fmla="*/ 5839021 w 6097587"/>
              <a:gd name="connsiteY200" fmla="*/ 206860 h 6858000"/>
              <a:gd name="connsiteX201" fmla="*/ 5835399 w 6097587"/>
              <a:gd name="connsiteY201" fmla="*/ 205472 h 6858000"/>
              <a:gd name="connsiteX202" fmla="*/ 5195546 w 6097587"/>
              <a:gd name="connsiteY202" fmla="*/ 205472 h 6858000"/>
              <a:gd name="connsiteX203" fmla="*/ 5191903 w 6097587"/>
              <a:gd name="connsiteY203" fmla="*/ 206860 h 6858000"/>
              <a:gd name="connsiteX204" fmla="*/ 5191426 w 6097587"/>
              <a:gd name="connsiteY204" fmla="*/ 208074 h 6858000"/>
              <a:gd name="connsiteX205" fmla="*/ 5191534 w 6097587"/>
              <a:gd name="connsiteY205" fmla="*/ 246071 h 6858000"/>
              <a:gd name="connsiteX206" fmla="*/ 5149894 w 6097587"/>
              <a:gd name="connsiteY206" fmla="*/ 206664 h 6858000"/>
              <a:gd name="connsiteX207" fmla="*/ 5146532 w 6097587"/>
              <a:gd name="connsiteY207" fmla="*/ 205558 h 6858000"/>
              <a:gd name="connsiteX208" fmla="*/ 5137380 w 6097587"/>
              <a:gd name="connsiteY208" fmla="*/ 205558 h 6858000"/>
              <a:gd name="connsiteX209" fmla="*/ 5133736 w 6097587"/>
              <a:gd name="connsiteY209" fmla="*/ 206946 h 6858000"/>
              <a:gd name="connsiteX210" fmla="*/ 5133281 w 6097587"/>
              <a:gd name="connsiteY210" fmla="*/ 208161 h 6858000"/>
              <a:gd name="connsiteX211" fmla="*/ 5133281 w 6097587"/>
              <a:gd name="connsiteY211" fmla="*/ 271055 h 6858000"/>
              <a:gd name="connsiteX212" fmla="*/ 5133736 w 6097587"/>
              <a:gd name="connsiteY212" fmla="*/ 272270 h 6858000"/>
              <a:gd name="connsiteX213" fmla="*/ 5137380 w 6097587"/>
              <a:gd name="connsiteY213" fmla="*/ 273658 h 6858000"/>
              <a:gd name="connsiteX214" fmla="*/ 5148029 w 6097587"/>
              <a:gd name="connsiteY214" fmla="*/ 273658 h 6858000"/>
              <a:gd name="connsiteX215" fmla="*/ 5152236 w 6097587"/>
              <a:gd name="connsiteY215" fmla="*/ 271055 h 6858000"/>
              <a:gd name="connsiteX216" fmla="*/ 5152236 w 6097587"/>
              <a:gd name="connsiteY216" fmla="*/ 232668 h 6858000"/>
              <a:gd name="connsiteX217" fmla="*/ 5194072 w 6097587"/>
              <a:gd name="connsiteY217" fmla="*/ 272552 h 6858000"/>
              <a:gd name="connsiteX218" fmla="*/ 5197520 w 6097587"/>
              <a:gd name="connsiteY218" fmla="*/ 273658 h 6858000"/>
              <a:gd name="connsiteX219" fmla="*/ 5206195 w 6097587"/>
              <a:gd name="connsiteY219" fmla="*/ 273658 h 6858000"/>
              <a:gd name="connsiteX220" fmla="*/ 5209925 w 6097587"/>
              <a:gd name="connsiteY220" fmla="*/ 272183 h 6858000"/>
              <a:gd name="connsiteX221" fmla="*/ 5210381 w 6097587"/>
              <a:gd name="connsiteY221" fmla="*/ 270969 h 6858000"/>
              <a:gd name="connsiteX222" fmla="*/ 5210381 w 6097587"/>
              <a:gd name="connsiteY222" fmla="*/ 208074 h 6858000"/>
              <a:gd name="connsiteX223" fmla="*/ 5209925 w 6097587"/>
              <a:gd name="connsiteY223" fmla="*/ 206860 h 6858000"/>
              <a:gd name="connsiteX224" fmla="*/ 5206282 w 6097587"/>
              <a:gd name="connsiteY224" fmla="*/ 205472 h 6858000"/>
              <a:gd name="connsiteX225" fmla="*/ 5856110 w 6097587"/>
              <a:gd name="connsiteY225" fmla="*/ 205428 h 6858000"/>
              <a:gd name="connsiteX226" fmla="*/ 5851339 w 6097587"/>
              <a:gd name="connsiteY226" fmla="*/ 208681 h 6858000"/>
              <a:gd name="connsiteX227" fmla="*/ 5851339 w 6097587"/>
              <a:gd name="connsiteY227" fmla="*/ 270383 h 6858000"/>
              <a:gd name="connsiteX228" fmla="*/ 5856110 w 6097587"/>
              <a:gd name="connsiteY228" fmla="*/ 273657 h 6858000"/>
              <a:gd name="connsiteX229" fmla="*/ 5889618 w 6097587"/>
              <a:gd name="connsiteY229" fmla="*/ 273657 h 6858000"/>
              <a:gd name="connsiteX230" fmla="*/ 5933579 w 6097587"/>
              <a:gd name="connsiteY230" fmla="*/ 239586 h 6858000"/>
              <a:gd name="connsiteX231" fmla="*/ 5889618 w 6097587"/>
              <a:gd name="connsiteY231" fmla="*/ 205428 h 6858000"/>
              <a:gd name="connsiteX232" fmla="*/ 5596119 w 6097587"/>
              <a:gd name="connsiteY232" fmla="*/ 205428 h 6858000"/>
              <a:gd name="connsiteX233" fmla="*/ 5592562 w 6097587"/>
              <a:gd name="connsiteY233" fmla="*/ 206816 h 6858000"/>
              <a:gd name="connsiteX234" fmla="*/ 5592085 w 6097587"/>
              <a:gd name="connsiteY234" fmla="*/ 207944 h 6858000"/>
              <a:gd name="connsiteX235" fmla="*/ 5592085 w 6097587"/>
              <a:gd name="connsiteY235" fmla="*/ 271033 h 6858000"/>
              <a:gd name="connsiteX236" fmla="*/ 5592562 w 6097587"/>
              <a:gd name="connsiteY236" fmla="*/ 272161 h 6858000"/>
              <a:gd name="connsiteX237" fmla="*/ 5596119 w 6097587"/>
              <a:gd name="connsiteY237" fmla="*/ 273549 h 6858000"/>
              <a:gd name="connsiteX238" fmla="*/ 5656497 w 6097587"/>
              <a:gd name="connsiteY238" fmla="*/ 273549 h 6858000"/>
              <a:gd name="connsiteX239" fmla="*/ 5660141 w 6097587"/>
              <a:gd name="connsiteY239" fmla="*/ 271792 h 6858000"/>
              <a:gd name="connsiteX240" fmla="*/ 5663871 w 6097587"/>
              <a:gd name="connsiteY240" fmla="*/ 260493 h 6858000"/>
              <a:gd name="connsiteX241" fmla="*/ 5663871 w 6097587"/>
              <a:gd name="connsiteY241" fmla="*/ 260211 h 6858000"/>
              <a:gd name="connsiteX242" fmla="*/ 5660141 w 6097587"/>
              <a:gd name="connsiteY242" fmla="*/ 257782 h 6858000"/>
              <a:gd name="connsiteX243" fmla="*/ 5611040 w 6097587"/>
              <a:gd name="connsiteY243" fmla="*/ 257782 h 6858000"/>
              <a:gd name="connsiteX244" fmla="*/ 5610975 w 6097587"/>
              <a:gd name="connsiteY244" fmla="*/ 207944 h 6858000"/>
              <a:gd name="connsiteX245" fmla="*/ 5610520 w 6097587"/>
              <a:gd name="connsiteY245" fmla="*/ 206816 h 6858000"/>
              <a:gd name="connsiteX246" fmla="*/ 5606963 w 6097587"/>
              <a:gd name="connsiteY246" fmla="*/ 205428 h 6858000"/>
              <a:gd name="connsiteX247" fmla="*/ 5506895 w 6097587"/>
              <a:gd name="connsiteY247" fmla="*/ 205428 h 6858000"/>
              <a:gd name="connsiteX248" fmla="*/ 5503360 w 6097587"/>
              <a:gd name="connsiteY248" fmla="*/ 206816 h 6858000"/>
              <a:gd name="connsiteX249" fmla="*/ 5502883 w 6097587"/>
              <a:gd name="connsiteY249" fmla="*/ 207944 h 6858000"/>
              <a:gd name="connsiteX250" fmla="*/ 5502883 w 6097587"/>
              <a:gd name="connsiteY250" fmla="*/ 271033 h 6858000"/>
              <a:gd name="connsiteX251" fmla="*/ 5503252 w 6097587"/>
              <a:gd name="connsiteY251" fmla="*/ 272161 h 6858000"/>
              <a:gd name="connsiteX252" fmla="*/ 5506895 w 6097587"/>
              <a:gd name="connsiteY252" fmla="*/ 273657 h 6858000"/>
              <a:gd name="connsiteX253" fmla="*/ 5517739 w 6097587"/>
              <a:gd name="connsiteY253" fmla="*/ 273657 h 6858000"/>
              <a:gd name="connsiteX254" fmla="*/ 5521383 w 6097587"/>
              <a:gd name="connsiteY254" fmla="*/ 272248 h 6858000"/>
              <a:gd name="connsiteX255" fmla="*/ 5521860 w 6097587"/>
              <a:gd name="connsiteY255" fmla="*/ 271033 h 6858000"/>
              <a:gd name="connsiteX256" fmla="*/ 5521860 w 6097587"/>
              <a:gd name="connsiteY256" fmla="*/ 247415 h 6858000"/>
              <a:gd name="connsiteX257" fmla="*/ 5561331 w 6097587"/>
              <a:gd name="connsiteY257" fmla="*/ 247415 h 6858000"/>
              <a:gd name="connsiteX258" fmla="*/ 5561331 w 6097587"/>
              <a:gd name="connsiteY258" fmla="*/ 271055 h 6858000"/>
              <a:gd name="connsiteX259" fmla="*/ 5561700 w 6097587"/>
              <a:gd name="connsiteY259" fmla="*/ 272183 h 6858000"/>
              <a:gd name="connsiteX260" fmla="*/ 5565344 w 6097587"/>
              <a:gd name="connsiteY260" fmla="*/ 273679 h 6858000"/>
              <a:gd name="connsiteX261" fmla="*/ 5576187 w 6097587"/>
              <a:gd name="connsiteY261" fmla="*/ 273679 h 6858000"/>
              <a:gd name="connsiteX262" fmla="*/ 5579831 w 6097587"/>
              <a:gd name="connsiteY262" fmla="*/ 272183 h 6858000"/>
              <a:gd name="connsiteX263" fmla="*/ 5580200 w 6097587"/>
              <a:gd name="connsiteY263" fmla="*/ 271055 h 6858000"/>
              <a:gd name="connsiteX264" fmla="*/ 5580200 w 6097587"/>
              <a:gd name="connsiteY264" fmla="*/ 207944 h 6858000"/>
              <a:gd name="connsiteX265" fmla="*/ 5579744 w 6097587"/>
              <a:gd name="connsiteY265" fmla="*/ 206816 h 6858000"/>
              <a:gd name="connsiteX266" fmla="*/ 5576187 w 6097587"/>
              <a:gd name="connsiteY266" fmla="*/ 205428 h 6858000"/>
              <a:gd name="connsiteX267" fmla="*/ 5565344 w 6097587"/>
              <a:gd name="connsiteY267" fmla="*/ 205428 h 6858000"/>
              <a:gd name="connsiteX268" fmla="*/ 5561808 w 6097587"/>
              <a:gd name="connsiteY268" fmla="*/ 206816 h 6858000"/>
              <a:gd name="connsiteX269" fmla="*/ 5561331 w 6097587"/>
              <a:gd name="connsiteY269" fmla="*/ 207944 h 6858000"/>
              <a:gd name="connsiteX270" fmla="*/ 5561331 w 6097587"/>
              <a:gd name="connsiteY270" fmla="*/ 231648 h 6858000"/>
              <a:gd name="connsiteX271" fmla="*/ 5521860 w 6097587"/>
              <a:gd name="connsiteY271" fmla="*/ 231648 h 6858000"/>
              <a:gd name="connsiteX272" fmla="*/ 5521860 w 6097587"/>
              <a:gd name="connsiteY272" fmla="*/ 207944 h 6858000"/>
              <a:gd name="connsiteX273" fmla="*/ 5521383 w 6097587"/>
              <a:gd name="connsiteY273" fmla="*/ 206729 h 6858000"/>
              <a:gd name="connsiteX274" fmla="*/ 5517739 w 6097587"/>
              <a:gd name="connsiteY274" fmla="*/ 205428 h 6858000"/>
              <a:gd name="connsiteX275" fmla="*/ 5414571 w 6097587"/>
              <a:gd name="connsiteY275" fmla="*/ 205427 h 6858000"/>
              <a:gd name="connsiteX276" fmla="*/ 5411296 w 6097587"/>
              <a:gd name="connsiteY276" fmla="*/ 207011 h 6858000"/>
              <a:gd name="connsiteX277" fmla="*/ 5407566 w 6097587"/>
              <a:gd name="connsiteY277" fmla="*/ 217356 h 6858000"/>
              <a:gd name="connsiteX278" fmla="*/ 5410928 w 6097587"/>
              <a:gd name="connsiteY278" fmla="*/ 219785 h 6858000"/>
              <a:gd name="connsiteX279" fmla="*/ 5439859 w 6097587"/>
              <a:gd name="connsiteY279" fmla="*/ 219785 h 6858000"/>
              <a:gd name="connsiteX280" fmla="*/ 5439859 w 6097587"/>
              <a:gd name="connsiteY280" fmla="*/ 271315 h 6858000"/>
              <a:gd name="connsiteX281" fmla="*/ 5443503 w 6097587"/>
              <a:gd name="connsiteY281" fmla="*/ 273483 h 6858000"/>
              <a:gd name="connsiteX282" fmla="*/ 5455084 w 6097587"/>
              <a:gd name="connsiteY282" fmla="*/ 273483 h 6858000"/>
              <a:gd name="connsiteX283" fmla="*/ 5458727 w 6097587"/>
              <a:gd name="connsiteY283" fmla="*/ 271315 h 6858000"/>
              <a:gd name="connsiteX284" fmla="*/ 5458727 w 6097587"/>
              <a:gd name="connsiteY284" fmla="*/ 219785 h 6858000"/>
              <a:gd name="connsiteX285" fmla="*/ 5487659 w 6097587"/>
              <a:gd name="connsiteY285" fmla="*/ 219785 h 6858000"/>
              <a:gd name="connsiteX286" fmla="*/ 5491020 w 6097587"/>
              <a:gd name="connsiteY286" fmla="*/ 217356 h 6858000"/>
              <a:gd name="connsiteX287" fmla="*/ 5487095 w 6097587"/>
              <a:gd name="connsiteY287" fmla="*/ 207011 h 6858000"/>
              <a:gd name="connsiteX288" fmla="*/ 5483820 w 6097587"/>
              <a:gd name="connsiteY288" fmla="*/ 205427 h 6858000"/>
              <a:gd name="connsiteX289" fmla="*/ 5264948 w 6097587"/>
              <a:gd name="connsiteY289" fmla="*/ 203931 h 6858000"/>
              <a:gd name="connsiteX290" fmla="*/ 5246188 w 6097587"/>
              <a:gd name="connsiteY290" fmla="*/ 207293 h 6858000"/>
              <a:gd name="connsiteX291" fmla="*/ 5220336 w 6097587"/>
              <a:gd name="connsiteY291" fmla="*/ 239499 h 6858000"/>
              <a:gd name="connsiteX292" fmla="*/ 5264948 w 6097587"/>
              <a:gd name="connsiteY292" fmla="*/ 275067 h 6858000"/>
              <a:gd name="connsiteX293" fmla="*/ 5306393 w 6097587"/>
              <a:gd name="connsiteY293" fmla="*/ 253704 h 6858000"/>
              <a:gd name="connsiteX294" fmla="*/ 5309668 w 6097587"/>
              <a:gd name="connsiteY294" fmla="*/ 239499 h 6858000"/>
              <a:gd name="connsiteX295" fmla="*/ 5264948 w 6097587"/>
              <a:gd name="connsiteY295" fmla="*/ 203931 h 6858000"/>
              <a:gd name="connsiteX296" fmla="*/ 4880193 w 6097587"/>
              <a:gd name="connsiteY296" fmla="*/ 202289 h 6858000"/>
              <a:gd name="connsiteX297" fmla="*/ 4725857 w 6097587"/>
              <a:gd name="connsiteY297" fmla="*/ 295541 h 6858000"/>
              <a:gd name="connsiteX298" fmla="*/ 4828483 w 6097587"/>
              <a:gd name="connsiteY298" fmla="*/ 485351 h 6858000"/>
              <a:gd name="connsiteX299" fmla="*/ 4941779 w 6097587"/>
              <a:gd name="connsiteY299" fmla="*/ 481014 h 6858000"/>
              <a:gd name="connsiteX300" fmla="*/ 5234173 w 6097587"/>
              <a:gd name="connsiteY300" fmla="*/ 400075 h 6858000"/>
              <a:gd name="connsiteX301" fmla="*/ 4764027 w 6097587"/>
              <a:gd name="connsiteY301" fmla="*/ 382725 h 6858000"/>
              <a:gd name="connsiteX302" fmla="*/ 4939697 w 6097587"/>
              <a:gd name="connsiteY302" fmla="*/ 212498 h 6858000"/>
              <a:gd name="connsiteX303" fmla="*/ 4880193 w 6097587"/>
              <a:gd name="connsiteY303" fmla="*/ 202289 h 6858000"/>
              <a:gd name="connsiteX304" fmla="*/ 4917391 w 6097587"/>
              <a:gd name="connsiteY304" fmla="*/ 152090 h 6858000"/>
              <a:gd name="connsiteX305" fmla="*/ 4858065 w 6097587"/>
              <a:gd name="connsiteY305" fmla="*/ 161727 h 6858000"/>
              <a:gd name="connsiteX306" fmla="*/ 4565693 w 6097587"/>
              <a:gd name="connsiteY306" fmla="*/ 242666 h 6858000"/>
              <a:gd name="connsiteX307" fmla="*/ 5035817 w 6097587"/>
              <a:gd name="connsiteY307" fmla="*/ 260016 h 6858000"/>
              <a:gd name="connsiteX308" fmla="*/ 4860147 w 6097587"/>
              <a:gd name="connsiteY308" fmla="*/ 430221 h 6858000"/>
              <a:gd name="connsiteX309" fmla="*/ 5074009 w 6097587"/>
              <a:gd name="connsiteY309" fmla="*/ 347179 h 6858000"/>
              <a:gd name="connsiteX310" fmla="*/ 4971383 w 6097587"/>
              <a:gd name="connsiteY310" fmla="*/ 157368 h 6858000"/>
              <a:gd name="connsiteX311" fmla="*/ 4917391 w 6097587"/>
              <a:gd name="connsiteY311" fmla="*/ 152090 h 6858000"/>
              <a:gd name="connsiteX312" fmla="*/ 0 w 6097587"/>
              <a:gd name="connsiteY312" fmla="*/ 0 h 6858000"/>
              <a:gd name="connsiteX313" fmla="*/ 6097587 w 6097587"/>
              <a:gd name="connsiteY313" fmla="*/ 0 h 6858000"/>
              <a:gd name="connsiteX314" fmla="*/ 6097587 w 6097587"/>
              <a:gd name="connsiteY314" fmla="*/ 6858000 h 6858000"/>
              <a:gd name="connsiteX315" fmla="*/ 0 w 6097587"/>
              <a:gd name="connsiteY3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</a:cxnLst>
            <a:rect l="l" t="t" r="r" b="b"/>
            <a:pathLst>
              <a:path w="6097587" h="6858000">
                <a:moveTo>
                  <a:pt x="5596943" y="346463"/>
                </a:moveTo>
                <a:lnTo>
                  <a:pt x="5596943" y="346658"/>
                </a:lnTo>
                <a:lnTo>
                  <a:pt x="5594340" y="346658"/>
                </a:lnTo>
                <a:cubicBezTo>
                  <a:pt x="5595273" y="346463"/>
                  <a:pt x="5596097" y="346463"/>
                  <a:pt x="5596943" y="346463"/>
                </a:cubicBezTo>
                <a:close/>
                <a:moveTo>
                  <a:pt x="5558013" y="318920"/>
                </a:moveTo>
                <a:lnTo>
                  <a:pt x="5593950" y="318920"/>
                </a:lnTo>
                <a:cubicBezTo>
                  <a:pt x="5596834" y="318920"/>
                  <a:pt x="5599003" y="323214"/>
                  <a:pt x="5599003" y="325752"/>
                </a:cubicBezTo>
                <a:cubicBezTo>
                  <a:pt x="5599005" y="325817"/>
                  <a:pt x="5599005" y="325883"/>
                  <a:pt x="5599005" y="325949"/>
                </a:cubicBezTo>
                <a:cubicBezTo>
                  <a:pt x="5598968" y="328703"/>
                  <a:pt x="5596704" y="330907"/>
                  <a:pt x="5593950" y="330870"/>
                </a:cubicBezTo>
                <a:lnTo>
                  <a:pt x="5558013" y="330870"/>
                </a:lnTo>
                <a:close/>
                <a:moveTo>
                  <a:pt x="5152236" y="318876"/>
                </a:moveTo>
                <a:lnTo>
                  <a:pt x="5188173" y="318876"/>
                </a:lnTo>
                <a:cubicBezTo>
                  <a:pt x="5191165" y="318876"/>
                  <a:pt x="5193204" y="323756"/>
                  <a:pt x="5193204" y="326358"/>
                </a:cubicBezTo>
                <a:cubicBezTo>
                  <a:pt x="5193204" y="328961"/>
                  <a:pt x="5190775" y="332409"/>
                  <a:pt x="5187977" y="332409"/>
                </a:cubicBezTo>
                <a:lnTo>
                  <a:pt x="5152236" y="332409"/>
                </a:lnTo>
                <a:close/>
                <a:moveTo>
                  <a:pt x="5269242" y="317575"/>
                </a:moveTo>
                <a:cubicBezTo>
                  <a:pt x="5280346" y="317575"/>
                  <a:pt x="5295007" y="324472"/>
                  <a:pt x="5295007" y="337268"/>
                </a:cubicBezTo>
                <a:cubicBezTo>
                  <a:pt x="5295000" y="340032"/>
                  <a:pt x="5294250" y="342743"/>
                  <a:pt x="5292838" y="345119"/>
                </a:cubicBezTo>
                <a:cubicBezTo>
                  <a:pt x="5289389" y="351365"/>
                  <a:pt x="5280584" y="357069"/>
                  <a:pt x="5269307" y="357069"/>
                </a:cubicBezTo>
                <a:cubicBezTo>
                  <a:pt x="5258029" y="357069"/>
                  <a:pt x="5243650" y="350150"/>
                  <a:pt x="5243650" y="337268"/>
                </a:cubicBezTo>
                <a:cubicBezTo>
                  <a:pt x="5243685" y="334325"/>
                  <a:pt x="5244459" y="331438"/>
                  <a:pt x="5245906" y="328875"/>
                </a:cubicBezTo>
                <a:cubicBezTo>
                  <a:pt x="5249723" y="322997"/>
                  <a:pt x="5258137" y="317575"/>
                  <a:pt x="5269242" y="317575"/>
                </a:cubicBezTo>
                <a:close/>
                <a:moveTo>
                  <a:pt x="5456710" y="303283"/>
                </a:moveTo>
                <a:cubicBezTo>
                  <a:pt x="5455313" y="303141"/>
                  <a:pt x="5453932" y="303663"/>
                  <a:pt x="5452980" y="304693"/>
                </a:cubicBezTo>
                <a:cubicBezTo>
                  <a:pt x="5452600" y="305015"/>
                  <a:pt x="5452392" y="305496"/>
                  <a:pt x="5452416" y="305994"/>
                </a:cubicBezTo>
                <a:lnTo>
                  <a:pt x="5452416" y="368259"/>
                </a:lnTo>
                <a:cubicBezTo>
                  <a:pt x="5452392" y="368762"/>
                  <a:pt x="5452600" y="369250"/>
                  <a:pt x="5452980" y="369582"/>
                </a:cubicBezTo>
                <a:cubicBezTo>
                  <a:pt x="5453921" y="370638"/>
                  <a:pt x="5455300" y="371191"/>
                  <a:pt x="5456710" y="371079"/>
                </a:cubicBezTo>
                <a:lnTo>
                  <a:pt x="5517718" y="371079"/>
                </a:lnTo>
                <a:cubicBezTo>
                  <a:pt x="5519231" y="371170"/>
                  <a:pt x="5520671" y="370408"/>
                  <a:pt x="5521448" y="369105"/>
                </a:cubicBezTo>
                <a:lnTo>
                  <a:pt x="5524983" y="358261"/>
                </a:lnTo>
                <a:cubicBezTo>
                  <a:pt x="5525096" y="358135"/>
                  <a:pt x="5525165" y="357975"/>
                  <a:pt x="5525178" y="357806"/>
                </a:cubicBezTo>
                <a:cubicBezTo>
                  <a:pt x="5525178" y="356960"/>
                  <a:pt x="5523421" y="355377"/>
                  <a:pt x="5521253" y="355377"/>
                </a:cubicBezTo>
                <a:lnTo>
                  <a:pt x="5471371" y="355377"/>
                </a:lnTo>
                <a:lnTo>
                  <a:pt x="5471371" y="345162"/>
                </a:lnTo>
                <a:lnTo>
                  <a:pt x="5504206" y="345162"/>
                </a:lnTo>
                <a:cubicBezTo>
                  <a:pt x="5506071" y="345162"/>
                  <a:pt x="5507828" y="343926"/>
                  <a:pt x="5508023" y="342993"/>
                </a:cubicBezTo>
                <a:lnTo>
                  <a:pt x="5511667" y="331976"/>
                </a:lnTo>
                <a:lnTo>
                  <a:pt x="5511667" y="331781"/>
                </a:lnTo>
                <a:cubicBezTo>
                  <a:pt x="5511667" y="330848"/>
                  <a:pt x="5509888" y="329265"/>
                  <a:pt x="5507828" y="329265"/>
                </a:cubicBezTo>
                <a:lnTo>
                  <a:pt x="5471436" y="329265"/>
                </a:lnTo>
                <a:lnTo>
                  <a:pt x="5471436" y="319006"/>
                </a:lnTo>
                <a:lnTo>
                  <a:pt x="5521318" y="319006"/>
                </a:lnTo>
                <a:cubicBezTo>
                  <a:pt x="5523465" y="319006"/>
                  <a:pt x="5525243" y="317510"/>
                  <a:pt x="5525243" y="316577"/>
                </a:cubicBezTo>
                <a:cubicBezTo>
                  <a:pt x="5525228" y="316376"/>
                  <a:pt x="5525161" y="316181"/>
                  <a:pt x="5525048" y="316014"/>
                </a:cubicBezTo>
                <a:lnTo>
                  <a:pt x="5521513" y="305170"/>
                </a:lnTo>
                <a:cubicBezTo>
                  <a:pt x="5521318" y="304324"/>
                  <a:pt x="5519648" y="303283"/>
                  <a:pt x="5517783" y="303283"/>
                </a:cubicBezTo>
                <a:close/>
                <a:moveTo>
                  <a:pt x="5542810" y="303218"/>
                </a:moveTo>
                <a:cubicBezTo>
                  <a:pt x="5540945" y="303218"/>
                  <a:pt x="5539080" y="304736"/>
                  <a:pt x="5539080" y="305387"/>
                </a:cubicBezTo>
                <a:lnTo>
                  <a:pt x="5539080" y="368953"/>
                </a:lnTo>
                <a:cubicBezTo>
                  <a:pt x="5539663" y="370478"/>
                  <a:pt x="5541184" y="371432"/>
                  <a:pt x="5542810" y="371296"/>
                </a:cubicBezTo>
                <a:lnTo>
                  <a:pt x="5554283" y="371296"/>
                </a:lnTo>
                <a:cubicBezTo>
                  <a:pt x="5555907" y="371426"/>
                  <a:pt x="5557423" y="370474"/>
                  <a:pt x="5558013" y="368953"/>
                </a:cubicBezTo>
                <a:lnTo>
                  <a:pt x="5558013" y="346658"/>
                </a:lnTo>
                <a:lnTo>
                  <a:pt x="5575949" y="346658"/>
                </a:lnTo>
                <a:lnTo>
                  <a:pt x="5598157" y="370255"/>
                </a:lnTo>
                <a:cubicBezTo>
                  <a:pt x="5599010" y="371057"/>
                  <a:pt x="5600157" y="371465"/>
                  <a:pt x="5601324" y="371382"/>
                </a:cubicBezTo>
                <a:lnTo>
                  <a:pt x="5616093" y="371382"/>
                </a:lnTo>
                <a:cubicBezTo>
                  <a:pt x="5618132" y="371382"/>
                  <a:pt x="5619715" y="369864"/>
                  <a:pt x="5619715" y="369214"/>
                </a:cubicBezTo>
                <a:cubicBezTo>
                  <a:pt x="5619674" y="368802"/>
                  <a:pt x="5619515" y="368411"/>
                  <a:pt x="5619259" y="368086"/>
                </a:cubicBezTo>
                <a:cubicBezTo>
                  <a:pt x="5619064" y="367804"/>
                  <a:pt x="5618977" y="367782"/>
                  <a:pt x="5618414" y="367153"/>
                </a:cubicBezTo>
                <a:cubicBezTo>
                  <a:pt x="5617850" y="366524"/>
                  <a:pt x="5617026" y="365570"/>
                  <a:pt x="5615898" y="364356"/>
                </a:cubicBezTo>
                <a:lnTo>
                  <a:pt x="5608155" y="356331"/>
                </a:lnTo>
                <a:cubicBezTo>
                  <a:pt x="5605336" y="353425"/>
                  <a:pt x="5602560" y="350367"/>
                  <a:pt x="5600391" y="348198"/>
                </a:cubicBezTo>
                <a:cubicBezTo>
                  <a:pt x="5599801" y="347606"/>
                  <a:pt x="5599244" y="346984"/>
                  <a:pt x="5598721" y="346333"/>
                </a:cubicBezTo>
                <a:cubicBezTo>
                  <a:pt x="5609261" y="344750"/>
                  <a:pt x="5617936" y="336660"/>
                  <a:pt x="5617936" y="325817"/>
                </a:cubicBezTo>
                <a:cubicBezTo>
                  <a:pt x="5617936" y="312739"/>
                  <a:pt x="5606572" y="303218"/>
                  <a:pt x="5593950" y="303218"/>
                </a:cubicBezTo>
                <a:close/>
                <a:moveTo>
                  <a:pt x="5137206" y="303109"/>
                </a:moveTo>
                <a:cubicBezTo>
                  <a:pt x="5135797" y="303109"/>
                  <a:pt x="5133281" y="303846"/>
                  <a:pt x="5133281" y="305625"/>
                </a:cubicBezTo>
                <a:lnTo>
                  <a:pt x="5133281" y="368910"/>
                </a:lnTo>
                <a:cubicBezTo>
                  <a:pt x="5134034" y="370389"/>
                  <a:pt x="5135547" y="371326"/>
                  <a:pt x="5137206" y="371339"/>
                </a:cubicBezTo>
                <a:lnTo>
                  <a:pt x="5148311" y="371339"/>
                </a:lnTo>
                <a:cubicBezTo>
                  <a:pt x="5149959" y="371286"/>
                  <a:pt x="5151455" y="370363"/>
                  <a:pt x="5152236" y="368910"/>
                </a:cubicBezTo>
                <a:lnTo>
                  <a:pt x="5152236" y="348198"/>
                </a:lnTo>
                <a:lnTo>
                  <a:pt x="5187760" y="348219"/>
                </a:lnTo>
                <a:cubicBezTo>
                  <a:pt x="5200448" y="348219"/>
                  <a:pt x="5211639" y="339414"/>
                  <a:pt x="5212116" y="326532"/>
                </a:cubicBezTo>
                <a:lnTo>
                  <a:pt x="5212116" y="326163"/>
                </a:lnTo>
                <a:cubicBezTo>
                  <a:pt x="5211808" y="313195"/>
                  <a:pt x="5201098" y="302903"/>
                  <a:pt x="5188129" y="303109"/>
                </a:cubicBezTo>
                <a:close/>
                <a:moveTo>
                  <a:pt x="5323873" y="303088"/>
                </a:moveTo>
                <a:cubicBezTo>
                  <a:pt x="5321813" y="303088"/>
                  <a:pt x="5320316" y="304606"/>
                  <a:pt x="5320316" y="305257"/>
                </a:cubicBezTo>
                <a:cubicBezTo>
                  <a:pt x="5320292" y="305479"/>
                  <a:pt x="5320329" y="305704"/>
                  <a:pt x="5320424" y="305907"/>
                </a:cubicBezTo>
                <a:lnTo>
                  <a:pt x="5349985" y="369951"/>
                </a:lnTo>
                <a:cubicBezTo>
                  <a:pt x="5350382" y="370625"/>
                  <a:pt x="5351015" y="371129"/>
                  <a:pt x="5351763" y="371361"/>
                </a:cubicBezTo>
                <a:lnTo>
                  <a:pt x="5352501" y="371534"/>
                </a:lnTo>
                <a:lnTo>
                  <a:pt x="5362217" y="371534"/>
                </a:lnTo>
                <a:cubicBezTo>
                  <a:pt x="5363531" y="371417"/>
                  <a:pt x="5364758" y="370823"/>
                  <a:pt x="5365665" y="369864"/>
                </a:cubicBezTo>
                <a:lnTo>
                  <a:pt x="5380413" y="334383"/>
                </a:lnTo>
                <a:lnTo>
                  <a:pt x="5395074" y="369864"/>
                </a:lnTo>
                <a:cubicBezTo>
                  <a:pt x="5395074" y="370038"/>
                  <a:pt x="5395919" y="370797"/>
                  <a:pt x="5396093" y="370992"/>
                </a:cubicBezTo>
                <a:lnTo>
                  <a:pt x="5397134" y="371534"/>
                </a:lnTo>
                <a:lnTo>
                  <a:pt x="5407392" y="371534"/>
                </a:lnTo>
                <a:cubicBezTo>
                  <a:pt x="5408739" y="371643"/>
                  <a:pt x="5410045" y="371042"/>
                  <a:pt x="5410841" y="369951"/>
                </a:cubicBezTo>
                <a:lnTo>
                  <a:pt x="5440444" y="306016"/>
                </a:lnTo>
                <a:cubicBezTo>
                  <a:pt x="5440485" y="305801"/>
                  <a:pt x="5440485" y="305580"/>
                  <a:pt x="5440444" y="305365"/>
                </a:cubicBezTo>
                <a:cubicBezTo>
                  <a:pt x="5440444" y="304606"/>
                  <a:pt x="5438861" y="303196"/>
                  <a:pt x="5436909" y="303196"/>
                </a:cubicBezTo>
                <a:lnTo>
                  <a:pt x="5423072" y="303196"/>
                </a:lnTo>
                <a:lnTo>
                  <a:pt x="5422335" y="303391"/>
                </a:lnTo>
                <a:cubicBezTo>
                  <a:pt x="5421567" y="303618"/>
                  <a:pt x="5420906" y="304110"/>
                  <a:pt x="5420470" y="304779"/>
                </a:cubicBezTo>
                <a:lnTo>
                  <a:pt x="5403488" y="341649"/>
                </a:lnTo>
                <a:lnTo>
                  <a:pt x="5390454" y="309724"/>
                </a:lnTo>
                <a:cubicBezTo>
                  <a:pt x="5389782" y="308033"/>
                  <a:pt x="5389044" y="306363"/>
                  <a:pt x="5388285" y="304779"/>
                </a:cubicBezTo>
                <a:cubicBezTo>
                  <a:pt x="5387917" y="303847"/>
                  <a:pt x="5387179" y="303088"/>
                  <a:pt x="5384837" y="303088"/>
                </a:cubicBezTo>
                <a:lnTo>
                  <a:pt x="5376162" y="303088"/>
                </a:lnTo>
                <a:cubicBezTo>
                  <a:pt x="5374383" y="303088"/>
                  <a:pt x="5372909" y="303934"/>
                  <a:pt x="5372713" y="304779"/>
                </a:cubicBezTo>
                <a:cubicBezTo>
                  <a:pt x="5371933" y="306363"/>
                  <a:pt x="5371195" y="308033"/>
                  <a:pt x="5370545" y="309724"/>
                </a:cubicBezTo>
                <a:lnTo>
                  <a:pt x="5357294" y="341540"/>
                </a:lnTo>
                <a:lnTo>
                  <a:pt x="5340204" y="304671"/>
                </a:lnTo>
                <a:cubicBezTo>
                  <a:pt x="5339403" y="303586"/>
                  <a:pt x="5338100" y="302988"/>
                  <a:pt x="5336755" y="303088"/>
                </a:cubicBezTo>
                <a:close/>
                <a:moveTo>
                  <a:pt x="5269307" y="301700"/>
                </a:moveTo>
                <a:cubicBezTo>
                  <a:pt x="5262911" y="301788"/>
                  <a:pt x="5256574" y="302924"/>
                  <a:pt x="5250547" y="305062"/>
                </a:cubicBezTo>
                <a:cubicBezTo>
                  <a:pt x="5230659" y="312067"/>
                  <a:pt x="5224695" y="325795"/>
                  <a:pt x="5224695" y="337268"/>
                </a:cubicBezTo>
                <a:cubicBezTo>
                  <a:pt x="5224695" y="359021"/>
                  <a:pt x="5249614" y="372836"/>
                  <a:pt x="5269307" y="372836"/>
                </a:cubicBezTo>
                <a:cubicBezTo>
                  <a:pt x="5292469" y="372836"/>
                  <a:pt x="5305720" y="361623"/>
                  <a:pt x="5310752" y="351452"/>
                </a:cubicBezTo>
                <a:cubicBezTo>
                  <a:pt x="5312912" y="347036"/>
                  <a:pt x="5314033" y="342184"/>
                  <a:pt x="5314027" y="337268"/>
                </a:cubicBezTo>
                <a:cubicBezTo>
                  <a:pt x="5314027" y="314019"/>
                  <a:pt x="5289953" y="301700"/>
                  <a:pt x="5269307" y="301700"/>
                </a:cubicBezTo>
                <a:close/>
                <a:moveTo>
                  <a:pt x="5377377" y="248738"/>
                </a:moveTo>
                <a:lnTo>
                  <a:pt x="5377377" y="248912"/>
                </a:lnTo>
                <a:lnTo>
                  <a:pt x="5374774" y="248912"/>
                </a:lnTo>
                <a:cubicBezTo>
                  <a:pt x="5375707" y="248738"/>
                  <a:pt x="5376553" y="248738"/>
                  <a:pt x="5377377" y="248738"/>
                </a:cubicBezTo>
                <a:close/>
                <a:moveTo>
                  <a:pt x="5711563" y="226898"/>
                </a:moveTo>
                <a:lnTo>
                  <a:pt x="5721647" y="246678"/>
                </a:lnTo>
                <a:lnTo>
                  <a:pt x="5701413" y="246678"/>
                </a:lnTo>
                <a:cubicBezTo>
                  <a:pt x="5701803" y="246027"/>
                  <a:pt x="5702172" y="245181"/>
                  <a:pt x="5702736" y="244357"/>
                </a:cubicBezTo>
                <a:cubicBezTo>
                  <a:pt x="5703798" y="241928"/>
                  <a:pt x="5705490" y="238653"/>
                  <a:pt x="5707073" y="235573"/>
                </a:cubicBezTo>
                <a:cubicBezTo>
                  <a:pt x="5708656" y="232494"/>
                  <a:pt x="5710348" y="229327"/>
                  <a:pt x="5711563" y="226898"/>
                </a:cubicBezTo>
                <a:close/>
                <a:moveTo>
                  <a:pt x="5338469" y="221195"/>
                </a:moveTo>
                <a:lnTo>
                  <a:pt x="5374406" y="221195"/>
                </a:lnTo>
                <a:cubicBezTo>
                  <a:pt x="5377268" y="221195"/>
                  <a:pt x="5379437" y="225489"/>
                  <a:pt x="5379437" y="228005"/>
                </a:cubicBezTo>
                <a:cubicBezTo>
                  <a:pt x="5379439" y="228071"/>
                  <a:pt x="5379439" y="228137"/>
                  <a:pt x="5379439" y="228203"/>
                </a:cubicBezTo>
                <a:cubicBezTo>
                  <a:pt x="5379413" y="230957"/>
                  <a:pt x="5377160" y="233170"/>
                  <a:pt x="5374406" y="233145"/>
                </a:cubicBezTo>
                <a:lnTo>
                  <a:pt x="5338469" y="233145"/>
                </a:lnTo>
                <a:close/>
                <a:moveTo>
                  <a:pt x="5870229" y="221173"/>
                </a:moveTo>
                <a:lnTo>
                  <a:pt x="5889553" y="221195"/>
                </a:lnTo>
                <a:cubicBezTo>
                  <a:pt x="5908161" y="221195"/>
                  <a:pt x="5914667" y="229415"/>
                  <a:pt x="5914667" y="239586"/>
                </a:cubicBezTo>
                <a:cubicBezTo>
                  <a:pt x="5914667" y="250885"/>
                  <a:pt x="5910742" y="257869"/>
                  <a:pt x="5889553" y="257869"/>
                </a:cubicBezTo>
                <a:lnTo>
                  <a:pt x="5870229" y="257869"/>
                </a:lnTo>
                <a:close/>
                <a:moveTo>
                  <a:pt x="5264883" y="219785"/>
                </a:moveTo>
                <a:cubicBezTo>
                  <a:pt x="5275987" y="219785"/>
                  <a:pt x="5290647" y="226703"/>
                  <a:pt x="5290647" y="239499"/>
                </a:cubicBezTo>
                <a:cubicBezTo>
                  <a:pt x="5290639" y="242256"/>
                  <a:pt x="5289891" y="244960"/>
                  <a:pt x="5288479" y="247328"/>
                </a:cubicBezTo>
                <a:cubicBezTo>
                  <a:pt x="5285009" y="253574"/>
                  <a:pt x="5276247" y="259278"/>
                  <a:pt x="5264948" y="259278"/>
                </a:cubicBezTo>
                <a:cubicBezTo>
                  <a:pt x="5253648" y="259278"/>
                  <a:pt x="5239269" y="252360"/>
                  <a:pt x="5239269" y="239499"/>
                </a:cubicBezTo>
                <a:cubicBezTo>
                  <a:pt x="5239300" y="236546"/>
                  <a:pt x="5240085" y="233649"/>
                  <a:pt x="5241547" y="231084"/>
                </a:cubicBezTo>
                <a:cubicBezTo>
                  <a:pt x="5245364" y="225207"/>
                  <a:pt x="5253778" y="219785"/>
                  <a:pt x="5264883" y="219785"/>
                </a:cubicBezTo>
                <a:close/>
                <a:moveTo>
                  <a:pt x="5704796" y="205536"/>
                </a:moveTo>
                <a:cubicBezTo>
                  <a:pt x="5703345" y="205428"/>
                  <a:pt x="5701935" y="206055"/>
                  <a:pt x="5701044" y="207206"/>
                </a:cubicBezTo>
                <a:lnTo>
                  <a:pt x="5668512" y="270491"/>
                </a:lnTo>
                <a:cubicBezTo>
                  <a:pt x="5668398" y="270758"/>
                  <a:pt x="5668339" y="271046"/>
                  <a:pt x="5668339" y="271336"/>
                </a:cubicBezTo>
                <a:cubicBezTo>
                  <a:pt x="5668339" y="272074"/>
                  <a:pt x="5670096" y="273766"/>
                  <a:pt x="5672264" y="273766"/>
                </a:cubicBezTo>
                <a:lnTo>
                  <a:pt x="5684757" y="273766"/>
                </a:lnTo>
                <a:cubicBezTo>
                  <a:pt x="5686201" y="273721"/>
                  <a:pt x="5687561" y="273077"/>
                  <a:pt x="5688508" y="271987"/>
                </a:cubicBezTo>
                <a:lnTo>
                  <a:pt x="5693453" y="262379"/>
                </a:lnTo>
                <a:lnTo>
                  <a:pt x="5729737" y="262379"/>
                </a:lnTo>
                <a:lnTo>
                  <a:pt x="5734877" y="271987"/>
                </a:lnTo>
                <a:cubicBezTo>
                  <a:pt x="5735740" y="273172"/>
                  <a:pt x="5737143" y="273841"/>
                  <a:pt x="5738607" y="273766"/>
                </a:cubicBezTo>
                <a:lnTo>
                  <a:pt x="5751121" y="273766"/>
                </a:lnTo>
                <a:cubicBezTo>
                  <a:pt x="5752502" y="273895"/>
                  <a:pt x="5753849" y="273295"/>
                  <a:pt x="5754678" y="272182"/>
                </a:cubicBezTo>
                <a:cubicBezTo>
                  <a:pt x="5754994" y="271663"/>
                  <a:pt x="5754994" y="271010"/>
                  <a:pt x="5754678" y="270491"/>
                </a:cubicBezTo>
                <a:lnTo>
                  <a:pt x="5722146" y="207206"/>
                </a:lnTo>
                <a:cubicBezTo>
                  <a:pt x="5722059" y="206924"/>
                  <a:pt x="5721214" y="205536"/>
                  <a:pt x="5718416" y="205536"/>
                </a:cubicBezTo>
                <a:close/>
                <a:moveTo>
                  <a:pt x="5323244" y="205493"/>
                </a:moveTo>
                <a:cubicBezTo>
                  <a:pt x="5321379" y="205493"/>
                  <a:pt x="5319514" y="207011"/>
                  <a:pt x="5319514" y="207662"/>
                </a:cubicBezTo>
                <a:lnTo>
                  <a:pt x="5319514" y="271228"/>
                </a:lnTo>
                <a:cubicBezTo>
                  <a:pt x="5320117" y="272734"/>
                  <a:pt x="5321626" y="273674"/>
                  <a:pt x="5323244" y="273549"/>
                </a:cubicBezTo>
                <a:lnTo>
                  <a:pt x="5334717" y="273549"/>
                </a:lnTo>
                <a:cubicBezTo>
                  <a:pt x="5336339" y="273677"/>
                  <a:pt x="5337860" y="272738"/>
                  <a:pt x="5338469" y="271228"/>
                </a:cubicBezTo>
                <a:lnTo>
                  <a:pt x="5338469" y="248912"/>
                </a:lnTo>
                <a:lnTo>
                  <a:pt x="5356383" y="248912"/>
                </a:lnTo>
                <a:lnTo>
                  <a:pt x="5378591" y="272551"/>
                </a:lnTo>
                <a:cubicBezTo>
                  <a:pt x="5379452" y="273349"/>
                  <a:pt x="5380608" y="273750"/>
                  <a:pt x="5381779" y="273657"/>
                </a:cubicBezTo>
                <a:lnTo>
                  <a:pt x="5396527" y="273657"/>
                </a:lnTo>
                <a:cubicBezTo>
                  <a:pt x="5398566" y="273657"/>
                  <a:pt x="5400171" y="272139"/>
                  <a:pt x="5400171" y="271489"/>
                </a:cubicBezTo>
                <a:cubicBezTo>
                  <a:pt x="5400114" y="271077"/>
                  <a:pt x="5399949" y="270688"/>
                  <a:pt x="5399693" y="270361"/>
                </a:cubicBezTo>
                <a:cubicBezTo>
                  <a:pt x="5399498" y="270079"/>
                  <a:pt x="5399412" y="270057"/>
                  <a:pt x="5398848" y="269428"/>
                </a:cubicBezTo>
                <a:cubicBezTo>
                  <a:pt x="5398284" y="268799"/>
                  <a:pt x="5397460" y="267845"/>
                  <a:pt x="5396332" y="266631"/>
                </a:cubicBezTo>
                <a:lnTo>
                  <a:pt x="5388589" y="258606"/>
                </a:lnTo>
                <a:cubicBezTo>
                  <a:pt x="5385792" y="255700"/>
                  <a:pt x="5383016" y="252642"/>
                  <a:pt x="5380847" y="250473"/>
                </a:cubicBezTo>
                <a:cubicBezTo>
                  <a:pt x="5380250" y="249881"/>
                  <a:pt x="5379687" y="249259"/>
                  <a:pt x="5379155" y="248608"/>
                </a:cubicBezTo>
                <a:cubicBezTo>
                  <a:pt x="5389717" y="247025"/>
                  <a:pt x="5398392" y="238914"/>
                  <a:pt x="5398392" y="228070"/>
                </a:cubicBezTo>
                <a:cubicBezTo>
                  <a:pt x="5398392" y="215014"/>
                  <a:pt x="5387006" y="205493"/>
                  <a:pt x="5374406" y="205493"/>
                </a:cubicBezTo>
                <a:close/>
                <a:moveTo>
                  <a:pt x="5824555" y="205472"/>
                </a:moveTo>
                <a:cubicBezTo>
                  <a:pt x="5823195" y="205371"/>
                  <a:pt x="5821859" y="205879"/>
                  <a:pt x="5820911" y="206860"/>
                </a:cubicBezTo>
                <a:cubicBezTo>
                  <a:pt x="5820649" y="207216"/>
                  <a:pt x="5820486" y="207635"/>
                  <a:pt x="5820434" y="208074"/>
                </a:cubicBezTo>
                <a:lnTo>
                  <a:pt x="5820434" y="246071"/>
                </a:lnTo>
                <a:lnTo>
                  <a:pt x="5778794" y="206664"/>
                </a:lnTo>
                <a:cubicBezTo>
                  <a:pt x="5777913" y="205783"/>
                  <a:pt x="5776664" y="205373"/>
                  <a:pt x="5775432" y="205558"/>
                </a:cubicBezTo>
                <a:lnTo>
                  <a:pt x="5766280" y="205558"/>
                </a:lnTo>
                <a:cubicBezTo>
                  <a:pt x="5764922" y="205475"/>
                  <a:pt x="5763595" y="205981"/>
                  <a:pt x="5762636" y="206946"/>
                </a:cubicBezTo>
                <a:cubicBezTo>
                  <a:pt x="5762365" y="207295"/>
                  <a:pt x="5762205" y="207719"/>
                  <a:pt x="5762181" y="208161"/>
                </a:cubicBezTo>
                <a:lnTo>
                  <a:pt x="5762181" y="271055"/>
                </a:lnTo>
                <a:cubicBezTo>
                  <a:pt x="5762205" y="271497"/>
                  <a:pt x="5762365" y="271921"/>
                  <a:pt x="5762636" y="272270"/>
                </a:cubicBezTo>
                <a:cubicBezTo>
                  <a:pt x="5763589" y="273245"/>
                  <a:pt x="5764920" y="273752"/>
                  <a:pt x="5766280" y="273658"/>
                </a:cubicBezTo>
                <a:lnTo>
                  <a:pt x="5776929" y="273658"/>
                </a:lnTo>
                <a:cubicBezTo>
                  <a:pt x="5778425" y="273658"/>
                  <a:pt x="5781136" y="273007"/>
                  <a:pt x="5781136" y="271055"/>
                </a:cubicBezTo>
                <a:lnTo>
                  <a:pt x="5781136" y="232668"/>
                </a:lnTo>
                <a:lnTo>
                  <a:pt x="5823189" y="272552"/>
                </a:lnTo>
                <a:cubicBezTo>
                  <a:pt x="5824121" y="273406"/>
                  <a:pt x="5825381" y="273810"/>
                  <a:pt x="5826637" y="273658"/>
                </a:cubicBezTo>
                <a:lnTo>
                  <a:pt x="5835312" y="273658"/>
                </a:lnTo>
                <a:cubicBezTo>
                  <a:pt x="5836720" y="273783"/>
                  <a:pt x="5838101" y="273237"/>
                  <a:pt x="5839042" y="272183"/>
                </a:cubicBezTo>
                <a:cubicBezTo>
                  <a:pt x="5839348" y="271854"/>
                  <a:pt x="5839511" y="271417"/>
                  <a:pt x="5839498" y="270968"/>
                </a:cubicBezTo>
                <a:lnTo>
                  <a:pt x="5839498" y="208074"/>
                </a:lnTo>
                <a:cubicBezTo>
                  <a:pt x="5839498" y="207624"/>
                  <a:pt x="5839329" y="207189"/>
                  <a:pt x="5839021" y="206860"/>
                </a:cubicBezTo>
                <a:cubicBezTo>
                  <a:pt x="5838099" y="205853"/>
                  <a:pt x="5836756" y="205339"/>
                  <a:pt x="5835399" y="205472"/>
                </a:cubicBezTo>
                <a:close/>
                <a:moveTo>
                  <a:pt x="5195546" y="205472"/>
                </a:moveTo>
                <a:cubicBezTo>
                  <a:pt x="5194187" y="205371"/>
                  <a:pt x="5192851" y="205879"/>
                  <a:pt x="5191903" y="206860"/>
                </a:cubicBezTo>
                <a:cubicBezTo>
                  <a:pt x="5191643" y="207216"/>
                  <a:pt x="5191478" y="207635"/>
                  <a:pt x="5191426" y="208074"/>
                </a:cubicBezTo>
                <a:lnTo>
                  <a:pt x="5191534" y="246071"/>
                </a:lnTo>
                <a:lnTo>
                  <a:pt x="5149894" y="206664"/>
                </a:lnTo>
                <a:cubicBezTo>
                  <a:pt x="5149015" y="205780"/>
                  <a:pt x="5147764" y="205369"/>
                  <a:pt x="5146532" y="205558"/>
                </a:cubicBezTo>
                <a:lnTo>
                  <a:pt x="5137380" y="205558"/>
                </a:lnTo>
                <a:cubicBezTo>
                  <a:pt x="5136022" y="205475"/>
                  <a:pt x="5134695" y="205981"/>
                  <a:pt x="5133736" y="206946"/>
                </a:cubicBezTo>
                <a:cubicBezTo>
                  <a:pt x="5133463" y="207295"/>
                  <a:pt x="5133305" y="207719"/>
                  <a:pt x="5133281" y="208161"/>
                </a:cubicBezTo>
                <a:lnTo>
                  <a:pt x="5133281" y="271055"/>
                </a:lnTo>
                <a:cubicBezTo>
                  <a:pt x="5133305" y="271497"/>
                  <a:pt x="5133465" y="271921"/>
                  <a:pt x="5133736" y="272270"/>
                </a:cubicBezTo>
                <a:cubicBezTo>
                  <a:pt x="5134689" y="273245"/>
                  <a:pt x="5136020" y="273752"/>
                  <a:pt x="5137380" y="273658"/>
                </a:cubicBezTo>
                <a:lnTo>
                  <a:pt x="5148029" y="273658"/>
                </a:lnTo>
                <a:cubicBezTo>
                  <a:pt x="5149525" y="273658"/>
                  <a:pt x="5152236" y="273007"/>
                  <a:pt x="5152236" y="271055"/>
                </a:cubicBezTo>
                <a:lnTo>
                  <a:pt x="5152236" y="232668"/>
                </a:lnTo>
                <a:lnTo>
                  <a:pt x="5194072" y="272552"/>
                </a:lnTo>
                <a:cubicBezTo>
                  <a:pt x="5195004" y="273406"/>
                  <a:pt x="5196264" y="273810"/>
                  <a:pt x="5197520" y="273658"/>
                </a:cubicBezTo>
                <a:lnTo>
                  <a:pt x="5206195" y="273658"/>
                </a:lnTo>
                <a:cubicBezTo>
                  <a:pt x="5207605" y="273805"/>
                  <a:pt x="5208997" y="273255"/>
                  <a:pt x="5209925" y="272183"/>
                </a:cubicBezTo>
                <a:cubicBezTo>
                  <a:pt x="5210231" y="271854"/>
                  <a:pt x="5210394" y="271417"/>
                  <a:pt x="5210381" y="270969"/>
                </a:cubicBezTo>
                <a:lnTo>
                  <a:pt x="5210381" y="208074"/>
                </a:lnTo>
                <a:cubicBezTo>
                  <a:pt x="5210381" y="207628"/>
                  <a:pt x="5210220" y="207196"/>
                  <a:pt x="5209925" y="206860"/>
                </a:cubicBezTo>
                <a:cubicBezTo>
                  <a:pt x="5208999" y="205846"/>
                  <a:pt x="5207648" y="205332"/>
                  <a:pt x="5206282" y="205472"/>
                </a:cubicBezTo>
                <a:close/>
                <a:moveTo>
                  <a:pt x="5856110" y="205428"/>
                </a:moveTo>
                <a:cubicBezTo>
                  <a:pt x="5854137" y="205428"/>
                  <a:pt x="5851339" y="206361"/>
                  <a:pt x="5851339" y="208681"/>
                </a:cubicBezTo>
                <a:lnTo>
                  <a:pt x="5851339" y="270383"/>
                </a:lnTo>
                <a:cubicBezTo>
                  <a:pt x="5851339" y="272725"/>
                  <a:pt x="5854137" y="273657"/>
                  <a:pt x="5856110" y="273657"/>
                </a:cubicBezTo>
                <a:lnTo>
                  <a:pt x="5889618" y="273657"/>
                </a:lnTo>
                <a:cubicBezTo>
                  <a:pt x="5925186" y="273657"/>
                  <a:pt x="5933579" y="253770"/>
                  <a:pt x="5933579" y="239586"/>
                </a:cubicBezTo>
                <a:cubicBezTo>
                  <a:pt x="5933579" y="215209"/>
                  <a:pt x="5911652" y="205428"/>
                  <a:pt x="5889618" y="205428"/>
                </a:cubicBezTo>
                <a:close/>
                <a:moveTo>
                  <a:pt x="5596119" y="205428"/>
                </a:moveTo>
                <a:cubicBezTo>
                  <a:pt x="5594774" y="205261"/>
                  <a:pt x="5593438" y="205783"/>
                  <a:pt x="5592562" y="206816"/>
                </a:cubicBezTo>
                <a:cubicBezTo>
                  <a:pt x="5592280" y="207127"/>
                  <a:pt x="5592113" y="207525"/>
                  <a:pt x="5592085" y="207944"/>
                </a:cubicBezTo>
                <a:lnTo>
                  <a:pt x="5592085" y="271033"/>
                </a:lnTo>
                <a:cubicBezTo>
                  <a:pt x="5592096" y="271456"/>
                  <a:pt x="5592265" y="271859"/>
                  <a:pt x="5592562" y="272161"/>
                </a:cubicBezTo>
                <a:cubicBezTo>
                  <a:pt x="5593438" y="273194"/>
                  <a:pt x="5594774" y="273716"/>
                  <a:pt x="5596119" y="273549"/>
                </a:cubicBezTo>
                <a:lnTo>
                  <a:pt x="5656497" y="273549"/>
                </a:lnTo>
                <a:cubicBezTo>
                  <a:pt x="5658189" y="273549"/>
                  <a:pt x="5660141" y="272529"/>
                  <a:pt x="5660141" y="271792"/>
                </a:cubicBezTo>
                <a:lnTo>
                  <a:pt x="5663871" y="260493"/>
                </a:lnTo>
                <a:lnTo>
                  <a:pt x="5663871" y="260211"/>
                </a:lnTo>
                <a:cubicBezTo>
                  <a:pt x="5663871" y="259365"/>
                  <a:pt x="5662201" y="257782"/>
                  <a:pt x="5660141" y="257782"/>
                </a:cubicBezTo>
                <a:lnTo>
                  <a:pt x="5611040" y="257782"/>
                </a:lnTo>
                <a:lnTo>
                  <a:pt x="5610975" y="207944"/>
                </a:lnTo>
                <a:cubicBezTo>
                  <a:pt x="5610958" y="207526"/>
                  <a:pt x="5610797" y="207128"/>
                  <a:pt x="5610520" y="206816"/>
                </a:cubicBezTo>
                <a:cubicBezTo>
                  <a:pt x="5609643" y="205783"/>
                  <a:pt x="5608307" y="205261"/>
                  <a:pt x="5606963" y="205428"/>
                </a:cubicBezTo>
                <a:close/>
                <a:moveTo>
                  <a:pt x="5506895" y="205428"/>
                </a:moveTo>
                <a:cubicBezTo>
                  <a:pt x="5505557" y="205260"/>
                  <a:pt x="5504225" y="205783"/>
                  <a:pt x="5503360" y="206816"/>
                </a:cubicBezTo>
                <a:cubicBezTo>
                  <a:pt x="5503072" y="207122"/>
                  <a:pt x="5502903" y="207523"/>
                  <a:pt x="5502883" y="207944"/>
                </a:cubicBezTo>
                <a:lnTo>
                  <a:pt x="5502883" y="271033"/>
                </a:lnTo>
                <a:cubicBezTo>
                  <a:pt x="5502887" y="271438"/>
                  <a:pt x="5503015" y="271832"/>
                  <a:pt x="5503252" y="272161"/>
                </a:cubicBezTo>
                <a:cubicBezTo>
                  <a:pt x="5504143" y="273232"/>
                  <a:pt x="5505507" y="273793"/>
                  <a:pt x="5506895" y="273657"/>
                </a:cubicBezTo>
                <a:lnTo>
                  <a:pt x="5517739" y="273657"/>
                </a:lnTo>
                <a:cubicBezTo>
                  <a:pt x="5519101" y="273740"/>
                  <a:pt x="5520431" y="273226"/>
                  <a:pt x="5521383" y="272248"/>
                </a:cubicBezTo>
                <a:cubicBezTo>
                  <a:pt x="5521695" y="271922"/>
                  <a:pt x="5521866" y="271485"/>
                  <a:pt x="5521860" y="271033"/>
                </a:cubicBezTo>
                <a:lnTo>
                  <a:pt x="5521860" y="247415"/>
                </a:lnTo>
                <a:lnTo>
                  <a:pt x="5561331" y="247415"/>
                </a:lnTo>
                <a:lnTo>
                  <a:pt x="5561331" y="271055"/>
                </a:lnTo>
                <a:cubicBezTo>
                  <a:pt x="5561336" y="271460"/>
                  <a:pt x="5561464" y="271853"/>
                  <a:pt x="5561700" y="272183"/>
                </a:cubicBezTo>
                <a:cubicBezTo>
                  <a:pt x="5562591" y="273254"/>
                  <a:pt x="5563956" y="273815"/>
                  <a:pt x="5565344" y="273679"/>
                </a:cubicBezTo>
                <a:lnTo>
                  <a:pt x="5576187" y="273679"/>
                </a:lnTo>
                <a:cubicBezTo>
                  <a:pt x="5577575" y="273818"/>
                  <a:pt x="5578942" y="273257"/>
                  <a:pt x="5579831" y="272183"/>
                </a:cubicBezTo>
                <a:cubicBezTo>
                  <a:pt x="5580067" y="271853"/>
                  <a:pt x="5580195" y="271460"/>
                  <a:pt x="5580200" y="271055"/>
                </a:cubicBezTo>
                <a:lnTo>
                  <a:pt x="5580200" y="207944"/>
                </a:lnTo>
                <a:cubicBezTo>
                  <a:pt x="5580182" y="207527"/>
                  <a:pt x="5580022" y="207129"/>
                  <a:pt x="5579744" y="206816"/>
                </a:cubicBezTo>
                <a:cubicBezTo>
                  <a:pt x="5578868" y="205783"/>
                  <a:pt x="5577532" y="205261"/>
                  <a:pt x="5576187" y="205428"/>
                </a:cubicBezTo>
                <a:lnTo>
                  <a:pt x="5565344" y="205428"/>
                </a:lnTo>
                <a:cubicBezTo>
                  <a:pt x="5563001" y="205428"/>
                  <a:pt x="5561982" y="206447"/>
                  <a:pt x="5561808" y="206816"/>
                </a:cubicBezTo>
                <a:cubicBezTo>
                  <a:pt x="5561520" y="207122"/>
                  <a:pt x="5561351" y="207523"/>
                  <a:pt x="5561331" y="207944"/>
                </a:cubicBezTo>
                <a:lnTo>
                  <a:pt x="5561331" y="231648"/>
                </a:lnTo>
                <a:lnTo>
                  <a:pt x="5521860" y="231648"/>
                </a:lnTo>
                <a:lnTo>
                  <a:pt x="5521860" y="207944"/>
                </a:lnTo>
                <a:cubicBezTo>
                  <a:pt x="5521862" y="207493"/>
                  <a:pt x="5521693" y="207058"/>
                  <a:pt x="5521383" y="206729"/>
                </a:cubicBezTo>
                <a:cubicBezTo>
                  <a:pt x="5520398" y="205814"/>
                  <a:pt x="5519082" y="205344"/>
                  <a:pt x="5517739" y="205428"/>
                </a:cubicBezTo>
                <a:close/>
                <a:moveTo>
                  <a:pt x="5414571" y="205427"/>
                </a:moveTo>
                <a:cubicBezTo>
                  <a:pt x="5412598" y="205427"/>
                  <a:pt x="5411296" y="206360"/>
                  <a:pt x="5411296" y="207011"/>
                </a:cubicBezTo>
                <a:lnTo>
                  <a:pt x="5407566" y="217356"/>
                </a:lnTo>
                <a:cubicBezTo>
                  <a:pt x="5407479" y="217616"/>
                  <a:pt x="5407089" y="219785"/>
                  <a:pt x="5410928" y="219785"/>
                </a:cubicBezTo>
                <a:lnTo>
                  <a:pt x="5439859" y="219785"/>
                </a:lnTo>
                <a:lnTo>
                  <a:pt x="5439859" y="271315"/>
                </a:lnTo>
                <a:cubicBezTo>
                  <a:pt x="5440557" y="272676"/>
                  <a:pt x="5441974" y="273519"/>
                  <a:pt x="5443503" y="273483"/>
                </a:cubicBezTo>
                <a:lnTo>
                  <a:pt x="5455084" y="273483"/>
                </a:lnTo>
                <a:cubicBezTo>
                  <a:pt x="5456949" y="273483"/>
                  <a:pt x="5458727" y="271965"/>
                  <a:pt x="5458727" y="271315"/>
                </a:cubicBezTo>
                <a:lnTo>
                  <a:pt x="5458727" y="219785"/>
                </a:lnTo>
                <a:lnTo>
                  <a:pt x="5487659" y="219785"/>
                </a:lnTo>
                <a:cubicBezTo>
                  <a:pt x="5491476" y="219785"/>
                  <a:pt x="5491020" y="217551"/>
                  <a:pt x="5491020" y="217356"/>
                </a:cubicBezTo>
                <a:lnTo>
                  <a:pt x="5487095" y="207011"/>
                </a:lnTo>
                <a:cubicBezTo>
                  <a:pt x="5486397" y="205899"/>
                  <a:pt x="5485126" y="205285"/>
                  <a:pt x="5483820" y="205427"/>
                </a:cubicBezTo>
                <a:close/>
                <a:moveTo>
                  <a:pt x="5264948" y="203931"/>
                </a:moveTo>
                <a:cubicBezTo>
                  <a:pt x="5258552" y="204016"/>
                  <a:pt x="5252215" y="205152"/>
                  <a:pt x="5246188" y="207293"/>
                </a:cubicBezTo>
                <a:cubicBezTo>
                  <a:pt x="5226300" y="214276"/>
                  <a:pt x="5220336" y="228004"/>
                  <a:pt x="5220336" y="239499"/>
                </a:cubicBezTo>
                <a:cubicBezTo>
                  <a:pt x="5220336" y="261230"/>
                  <a:pt x="5245255" y="275045"/>
                  <a:pt x="5264948" y="275067"/>
                </a:cubicBezTo>
                <a:cubicBezTo>
                  <a:pt x="5288088" y="275067"/>
                  <a:pt x="5301361" y="263876"/>
                  <a:pt x="5306393" y="253704"/>
                </a:cubicBezTo>
                <a:cubicBezTo>
                  <a:pt x="5308544" y="249278"/>
                  <a:pt x="5309665" y="244421"/>
                  <a:pt x="5309668" y="239499"/>
                </a:cubicBezTo>
                <a:cubicBezTo>
                  <a:pt x="5309668" y="216250"/>
                  <a:pt x="5285573" y="203931"/>
                  <a:pt x="5264948" y="203931"/>
                </a:cubicBezTo>
                <a:close/>
                <a:moveTo>
                  <a:pt x="4880193" y="202289"/>
                </a:moveTo>
                <a:cubicBezTo>
                  <a:pt x="4816823" y="204180"/>
                  <a:pt x="4747735" y="240595"/>
                  <a:pt x="4725857" y="295541"/>
                </a:cubicBezTo>
                <a:cubicBezTo>
                  <a:pt x="4676756" y="418878"/>
                  <a:pt x="4785715" y="474139"/>
                  <a:pt x="4828483" y="485351"/>
                </a:cubicBezTo>
                <a:cubicBezTo>
                  <a:pt x="4866176" y="495262"/>
                  <a:pt x="4896951" y="490882"/>
                  <a:pt x="4941779" y="481014"/>
                </a:cubicBezTo>
                <a:cubicBezTo>
                  <a:pt x="5012958" y="465333"/>
                  <a:pt x="5234173" y="400075"/>
                  <a:pt x="5234173" y="400075"/>
                </a:cubicBezTo>
                <a:cubicBezTo>
                  <a:pt x="5075050" y="427597"/>
                  <a:pt x="4829437" y="518295"/>
                  <a:pt x="4764027" y="382725"/>
                </a:cubicBezTo>
                <a:cubicBezTo>
                  <a:pt x="4729891" y="286670"/>
                  <a:pt x="4854833" y="185649"/>
                  <a:pt x="4939697" y="212498"/>
                </a:cubicBezTo>
                <a:cubicBezTo>
                  <a:pt x="4921805" y="204864"/>
                  <a:pt x="4901317" y="201658"/>
                  <a:pt x="4880193" y="202289"/>
                </a:cubicBezTo>
                <a:close/>
                <a:moveTo>
                  <a:pt x="4917391" y="152090"/>
                </a:moveTo>
                <a:cubicBezTo>
                  <a:pt x="4899380" y="153177"/>
                  <a:pt x="4880479" y="156750"/>
                  <a:pt x="4858065" y="161727"/>
                </a:cubicBezTo>
                <a:cubicBezTo>
                  <a:pt x="4786908" y="177429"/>
                  <a:pt x="4565693" y="242666"/>
                  <a:pt x="4565693" y="242666"/>
                </a:cubicBezTo>
                <a:cubicBezTo>
                  <a:pt x="4724794" y="215144"/>
                  <a:pt x="4970407" y="124555"/>
                  <a:pt x="5035817" y="260016"/>
                </a:cubicBezTo>
                <a:cubicBezTo>
                  <a:pt x="5069954" y="356071"/>
                  <a:pt x="4945033" y="457092"/>
                  <a:pt x="4860147" y="430221"/>
                </a:cubicBezTo>
                <a:cubicBezTo>
                  <a:pt x="4931695" y="460757"/>
                  <a:pt x="5044839" y="420440"/>
                  <a:pt x="5074009" y="347179"/>
                </a:cubicBezTo>
                <a:cubicBezTo>
                  <a:pt x="5123197" y="223841"/>
                  <a:pt x="5014130" y="168581"/>
                  <a:pt x="4971383" y="157368"/>
                </a:cubicBezTo>
                <a:cubicBezTo>
                  <a:pt x="4952525" y="152402"/>
                  <a:pt x="4935403" y="151003"/>
                  <a:pt x="4917391" y="152090"/>
                </a:cubicBezTo>
                <a:close/>
                <a:moveTo>
                  <a:pt x="0" y="0"/>
                </a:moveTo>
                <a:lnTo>
                  <a:pt x="6097587" y="0"/>
                </a:lnTo>
                <a:lnTo>
                  <a:pt x="6097587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CA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4B799EC-3557-44D7-A8EF-FB2E365E5B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1CB6CBFB-A51D-496C-9C73-96261B2E37C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5783E99-884B-4B37-8D5F-673E0F71B39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1073743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Imag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mage Placeholder">
            <a:extLst>
              <a:ext uri="{FF2B5EF4-FFF2-40B4-BE49-F238E27FC236}">
                <a16:creationId xmlns:a16="http://schemas.microsoft.com/office/drawing/2014/main" id="{F1462F7B-ADBA-4DBA-A2B7-9F356F449B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11691356 w 12192000"/>
              <a:gd name="connsiteY0" fmla="*/ 346463 h 6858000"/>
              <a:gd name="connsiteX1" fmla="*/ 11691356 w 12192000"/>
              <a:gd name="connsiteY1" fmla="*/ 346658 h 6858000"/>
              <a:gd name="connsiteX2" fmla="*/ 11688753 w 12192000"/>
              <a:gd name="connsiteY2" fmla="*/ 346658 h 6858000"/>
              <a:gd name="connsiteX3" fmla="*/ 11691356 w 12192000"/>
              <a:gd name="connsiteY3" fmla="*/ 346463 h 6858000"/>
              <a:gd name="connsiteX4" fmla="*/ 11652426 w 12192000"/>
              <a:gd name="connsiteY4" fmla="*/ 318920 h 6858000"/>
              <a:gd name="connsiteX5" fmla="*/ 11688363 w 12192000"/>
              <a:gd name="connsiteY5" fmla="*/ 318920 h 6858000"/>
              <a:gd name="connsiteX6" fmla="*/ 11693416 w 12192000"/>
              <a:gd name="connsiteY6" fmla="*/ 325752 h 6858000"/>
              <a:gd name="connsiteX7" fmla="*/ 11693418 w 12192000"/>
              <a:gd name="connsiteY7" fmla="*/ 325949 h 6858000"/>
              <a:gd name="connsiteX8" fmla="*/ 11688363 w 12192000"/>
              <a:gd name="connsiteY8" fmla="*/ 330870 h 6858000"/>
              <a:gd name="connsiteX9" fmla="*/ 11652426 w 12192000"/>
              <a:gd name="connsiteY9" fmla="*/ 330870 h 6858000"/>
              <a:gd name="connsiteX10" fmla="*/ 11246649 w 12192000"/>
              <a:gd name="connsiteY10" fmla="*/ 318876 h 6858000"/>
              <a:gd name="connsiteX11" fmla="*/ 11282586 w 12192000"/>
              <a:gd name="connsiteY11" fmla="*/ 318876 h 6858000"/>
              <a:gd name="connsiteX12" fmla="*/ 11287617 w 12192000"/>
              <a:gd name="connsiteY12" fmla="*/ 326358 h 6858000"/>
              <a:gd name="connsiteX13" fmla="*/ 11282390 w 12192000"/>
              <a:gd name="connsiteY13" fmla="*/ 332409 h 6858000"/>
              <a:gd name="connsiteX14" fmla="*/ 11246649 w 12192000"/>
              <a:gd name="connsiteY14" fmla="*/ 332409 h 6858000"/>
              <a:gd name="connsiteX15" fmla="*/ 11363655 w 12192000"/>
              <a:gd name="connsiteY15" fmla="*/ 317575 h 6858000"/>
              <a:gd name="connsiteX16" fmla="*/ 11389420 w 12192000"/>
              <a:gd name="connsiteY16" fmla="*/ 337268 h 6858000"/>
              <a:gd name="connsiteX17" fmla="*/ 11387251 w 12192000"/>
              <a:gd name="connsiteY17" fmla="*/ 345119 h 6858000"/>
              <a:gd name="connsiteX18" fmla="*/ 11363720 w 12192000"/>
              <a:gd name="connsiteY18" fmla="*/ 357069 h 6858000"/>
              <a:gd name="connsiteX19" fmla="*/ 11338063 w 12192000"/>
              <a:gd name="connsiteY19" fmla="*/ 337268 h 6858000"/>
              <a:gd name="connsiteX20" fmla="*/ 11340319 w 12192000"/>
              <a:gd name="connsiteY20" fmla="*/ 328875 h 6858000"/>
              <a:gd name="connsiteX21" fmla="*/ 11363655 w 12192000"/>
              <a:gd name="connsiteY21" fmla="*/ 317575 h 6858000"/>
              <a:gd name="connsiteX22" fmla="*/ 11551123 w 12192000"/>
              <a:gd name="connsiteY22" fmla="*/ 303283 h 6858000"/>
              <a:gd name="connsiteX23" fmla="*/ 11547393 w 12192000"/>
              <a:gd name="connsiteY23" fmla="*/ 304693 h 6858000"/>
              <a:gd name="connsiteX24" fmla="*/ 11546829 w 12192000"/>
              <a:gd name="connsiteY24" fmla="*/ 305994 h 6858000"/>
              <a:gd name="connsiteX25" fmla="*/ 11546829 w 12192000"/>
              <a:gd name="connsiteY25" fmla="*/ 368259 h 6858000"/>
              <a:gd name="connsiteX26" fmla="*/ 11547393 w 12192000"/>
              <a:gd name="connsiteY26" fmla="*/ 369582 h 6858000"/>
              <a:gd name="connsiteX27" fmla="*/ 11551123 w 12192000"/>
              <a:gd name="connsiteY27" fmla="*/ 371079 h 6858000"/>
              <a:gd name="connsiteX28" fmla="*/ 11612131 w 12192000"/>
              <a:gd name="connsiteY28" fmla="*/ 371079 h 6858000"/>
              <a:gd name="connsiteX29" fmla="*/ 11615861 w 12192000"/>
              <a:gd name="connsiteY29" fmla="*/ 369105 h 6858000"/>
              <a:gd name="connsiteX30" fmla="*/ 11619396 w 12192000"/>
              <a:gd name="connsiteY30" fmla="*/ 358261 h 6858000"/>
              <a:gd name="connsiteX31" fmla="*/ 11619591 w 12192000"/>
              <a:gd name="connsiteY31" fmla="*/ 357806 h 6858000"/>
              <a:gd name="connsiteX32" fmla="*/ 11615666 w 12192000"/>
              <a:gd name="connsiteY32" fmla="*/ 355377 h 6858000"/>
              <a:gd name="connsiteX33" fmla="*/ 11565784 w 12192000"/>
              <a:gd name="connsiteY33" fmla="*/ 355377 h 6858000"/>
              <a:gd name="connsiteX34" fmla="*/ 11565784 w 12192000"/>
              <a:gd name="connsiteY34" fmla="*/ 345162 h 6858000"/>
              <a:gd name="connsiteX35" fmla="*/ 11598619 w 12192000"/>
              <a:gd name="connsiteY35" fmla="*/ 345162 h 6858000"/>
              <a:gd name="connsiteX36" fmla="*/ 11602436 w 12192000"/>
              <a:gd name="connsiteY36" fmla="*/ 342993 h 6858000"/>
              <a:gd name="connsiteX37" fmla="*/ 11606080 w 12192000"/>
              <a:gd name="connsiteY37" fmla="*/ 331976 h 6858000"/>
              <a:gd name="connsiteX38" fmla="*/ 11606080 w 12192000"/>
              <a:gd name="connsiteY38" fmla="*/ 331781 h 6858000"/>
              <a:gd name="connsiteX39" fmla="*/ 11602241 w 12192000"/>
              <a:gd name="connsiteY39" fmla="*/ 329265 h 6858000"/>
              <a:gd name="connsiteX40" fmla="*/ 11565849 w 12192000"/>
              <a:gd name="connsiteY40" fmla="*/ 329265 h 6858000"/>
              <a:gd name="connsiteX41" fmla="*/ 11565849 w 12192000"/>
              <a:gd name="connsiteY41" fmla="*/ 319006 h 6858000"/>
              <a:gd name="connsiteX42" fmla="*/ 11615731 w 12192000"/>
              <a:gd name="connsiteY42" fmla="*/ 319006 h 6858000"/>
              <a:gd name="connsiteX43" fmla="*/ 11619656 w 12192000"/>
              <a:gd name="connsiteY43" fmla="*/ 316577 h 6858000"/>
              <a:gd name="connsiteX44" fmla="*/ 11619461 w 12192000"/>
              <a:gd name="connsiteY44" fmla="*/ 316014 h 6858000"/>
              <a:gd name="connsiteX45" fmla="*/ 11615926 w 12192000"/>
              <a:gd name="connsiteY45" fmla="*/ 305170 h 6858000"/>
              <a:gd name="connsiteX46" fmla="*/ 11612196 w 12192000"/>
              <a:gd name="connsiteY46" fmla="*/ 303283 h 6858000"/>
              <a:gd name="connsiteX47" fmla="*/ 11637223 w 12192000"/>
              <a:gd name="connsiteY47" fmla="*/ 303218 h 6858000"/>
              <a:gd name="connsiteX48" fmla="*/ 11633493 w 12192000"/>
              <a:gd name="connsiteY48" fmla="*/ 305387 h 6858000"/>
              <a:gd name="connsiteX49" fmla="*/ 11633493 w 12192000"/>
              <a:gd name="connsiteY49" fmla="*/ 368953 h 6858000"/>
              <a:gd name="connsiteX50" fmla="*/ 11637223 w 12192000"/>
              <a:gd name="connsiteY50" fmla="*/ 371296 h 6858000"/>
              <a:gd name="connsiteX51" fmla="*/ 11648696 w 12192000"/>
              <a:gd name="connsiteY51" fmla="*/ 371296 h 6858000"/>
              <a:gd name="connsiteX52" fmla="*/ 11652426 w 12192000"/>
              <a:gd name="connsiteY52" fmla="*/ 368953 h 6858000"/>
              <a:gd name="connsiteX53" fmla="*/ 11652426 w 12192000"/>
              <a:gd name="connsiteY53" fmla="*/ 346658 h 6858000"/>
              <a:gd name="connsiteX54" fmla="*/ 11670362 w 12192000"/>
              <a:gd name="connsiteY54" fmla="*/ 346658 h 6858000"/>
              <a:gd name="connsiteX55" fmla="*/ 11692570 w 12192000"/>
              <a:gd name="connsiteY55" fmla="*/ 370255 h 6858000"/>
              <a:gd name="connsiteX56" fmla="*/ 11695737 w 12192000"/>
              <a:gd name="connsiteY56" fmla="*/ 371382 h 6858000"/>
              <a:gd name="connsiteX57" fmla="*/ 11710506 w 12192000"/>
              <a:gd name="connsiteY57" fmla="*/ 371382 h 6858000"/>
              <a:gd name="connsiteX58" fmla="*/ 11714128 w 12192000"/>
              <a:gd name="connsiteY58" fmla="*/ 369214 h 6858000"/>
              <a:gd name="connsiteX59" fmla="*/ 11713672 w 12192000"/>
              <a:gd name="connsiteY59" fmla="*/ 368086 h 6858000"/>
              <a:gd name="connsiteX60" fmla="*/ 11712827 w 12192000"/>
              <a:gd name="connsiteY60" fmla="*/ 367153 h 6858000"/>
              <a:gd name="connsiteX61" fmla="*/ 11710311 w 12192000"/>
              <a:gd name="connsiteY61" fmla="*/ 364356 h 6858000"/>
              <a:gd name="connsiteX62" fmla="*/ 11702568 w 12192000"/>
              <a:gd name="connsiteY62" fmla="*/ 356331 h 6858000"/>
              <a:gd name="connsiteX63" fmla="*/ 11694804 w 12192000"/>
              <a:gd name="connsiteY63" fmla="*/ 348198 h 6858000"/>
              <a:gd name="connsiteX64" fmla="*/ 11693134 w 12192000"/>
              <a:gd name="connsiteY64" fmla="*/ 346333 h 6858000"/>
              <a:gd name="connsiteX65" fmla="*/ 11712349 w 12192000"/>
              <a:gd name="connsiteY65" fmla="*/ 325817 h 6858000"/>
              <a:gd name="connsiteX66" fmla="*/ 11688363 w 12192000"/>
              <a:gd name="connsiteY66" fmla="*/ 303218 h 6858000"/>
              <a:gd name="connsiteX67" fmla="*/ 11231619 w 12192000"/>
              <a:gd name="connsiteY67" fmla="*/ 303109 h 6858000"/>
              <a:gd name="connsiteX68" fmla="*/ 11227694 w 12192000"/>
              <a:gd name="connsiteY68" fmla="*/ 305625 h 6858000"/>
              <a:gd name="connsiteX69" fmla="*/ 11227694 w 12192000"/>
              <a:gd name="connsiteY69" fmla="*/ 368910 h 6858000"/>
              <a:gd name="connsiteX70" fmla="*/ 11231619 w 12192000"/>
              <a:gd name="connsiteY70" fmla="*/ 371339 h 6858000"/>
              <a:gd name="connsiteX71" fmla="*/ 11242724 w 12192000"/>
              <a:gd name="connsiteY71" fmla="*/ 371339 h 6858000"/>
              <a:gd name="connsiteX72" fmla="*/ 11246649 w 12192000"/>
              <a:gd name="connsiteY72" fmla="*/ 368910 h 6858000"/>
              <a:gd name="connsiteX73" fmla="*/ 11246649 w 12192000"/>
              <a:gd name="connsiteY73" fmla="*/ 348198 h 6858000"/>
              <a:gd name="connsiteX74" fmla="*/ 11282173 w 12192000"/>
              <a:gd name="connsiteY74" fmla="*/ 348219 h 6858000"/>
              <a:gd name="connsiteX75" fmla="*/ 11306529 w 12192000"/>
              <a:gd name="connsiteY75" fmla="*/ 326532 h 6858000"/>
              <a:gd name="connsiteX76" fmla="*/ 11306529 w 12192000"/>
              <a:gd name="connsiteY76" fmla="*/ 326163 h 6858000"/>
              <a:gd name="connsiteX77" fmla="*/ 11282542 w 12192000"/>
              <a:gd name="connsiteY77" fmla="*/ 303109 h 6858000"/>
              <a:gd name="connsiteX78" fmla="*/ 11418286 w 12192000"/>
              <a:gd name="connsiteY78" fmla="*/ 303088 h 6858000"/>
              <a:gd name="connsiteX79" fmla="*/ 11414729 w 12192000"/>
              <a:gd name="connsiteY79" fmla="*/ 305257 h 6858000"/>
              <a:gd name="connsiteX80" fmla="*/ 11414837 w 12192000"/>
              <a:gd name="connsiteY80" fmla="*/ 305907 h 6858000"/>
              <a:gd name="connsiteX81" fmla="*/ 11444398 w 12192000"/>
              <a:gd name="connsiteY81" fmla="*/ 369951 h 6858000"/>
              <a:gd name="connsiteX82" fmla="*/ 11446176 w 12192000"/>
              <a:gd name="connsiteY82" fmla="*/ 371361 h 6858000"/>
              <a:gd name="connsiteX83" fmla="*/ 11446914 w 12192000"/>
              <a:gd name="connsiteY83" fmla="*/ 371534 h 6858000"/>
              <a:gd name="connsiteX84" fmla="*/ 11456630 w 12192000"/>
              <a:gd name="connsiteY84" fmla="*/ 371534 h 6858000"/>
              <a:gd name="connsiteX85" fmla="*/ 11460078 w 12192000"/>
              <a:gd name="connsiteY85" fmla="*/ 369864 h 6858000"/>
              <a:gd name="connsiteX86" fmla="*/ 11474826 w 12192000"/>
              <a:gd name="connsiteY86" fmla="*/ 334383 h 6858000"/>
              <a:gd name="connsiteX87" fmla="*/ 11489487 w 12192000"/>
              <a:gd name="connsiteY87" fmla="*/ 369864 h 6858000"/>
              <a:gd name="connsiteX88" fmla="*/ 11490506 w 12192000"/>
              <a:gd name="connsiteY88" fmla="*/ 370992 h 6858000"/>
              <a:gd name="connsiteX89" fmla="*/ 11491547 w 12192000"/>
              <a:gd name="connsiteY89" fmla="*/ 371534 h 6858000"/>
              <a:gd name="connsiteX90" fmla="*/ 11501805 w 12192000"/>
              <a:gd name="connsiteY90" fmla="*/ 371534 h 6858000"/>
              <a:gd name="connsiteX91" fmla="*/ 11505254 w 12192000"/>
              <a:gd name="connsiteY91" fmla="*/ 369951 h 6858000"/>
              <a:gd name="connsiteX92" fmla="*/ 11534857 w 12192000"/>
              <a:gd name="connsiteY92" fmla="*/ 306016 h 6858000"/>
              <a:gd name="connsiteX93" fmla="*/ 11534857 w 12192000"/>
              <a:gd name="connsiteY93" fmla="*/ 305365 h 6858000"/>
              <a:gd name="connsiteX94" fmla="*/ 11531322 w 12192000"/>
              <a:gd name="connsiteY94" fmla="*/ 303196 h 6858000"/>
              <a:gd name="connsiteX95" fmla="*/ 11517485 w 12192000"/>
              <a:gd name="connsiteY95" fmla="*/ 303196 h 6858000"/>
              <a:gd name="connsiteX96" fmla="*/ 11516748 w 12192000"/>
              <a:gd name="connsiteY96" fmla="*/ 303391 h 6858000"/>
              <a:gd name="connsiteX97" fmla="*/ 11514883 w 12192000"/>
              <a:gd name="connsiteY97" fmla="*/ 304779 h 6858000"/>
              <a:gd name="connsiteX98" fmla="*/ 11497901 w 12192000"/>
              <a:gd name="connsiteY98" fmla="*/ 341649 h 6858000"/>
              <a:gd name="connsiteX99" fmla="*/ 11484867 w 12192000"/>
              <a:gd name="connsiteY99" fmla="*/ 309724 h 6858000"/>
              <a:gd name="connsiteX100" fmla="*/ 11482698 w 12192000"/>
              <a:gd name="connsiteY100" fmla="*/ 304779 h 6858000"/>
              <a:gd name="connsiteX101" fmla="*/ 11479250 w 12192000"/>
              <a:gd name="connsiteY101" fmla="*/ 303088 h 6858000"/>
              <a:gd name="connsiteX102" fmla="*/ 11470575 w 12192000"/>
              <a:gd name="connsiteY102" fmla="*/ 303088 h 6858000"/>
              <a:gd name="connsiteX103" fmla="*/ 11467126 w 12192000"/>
              <a:gd name="connsiteY103" fmla="*/ 304779 h 6858000"/>
              <a:gd name="connsiteX104" fmla="*/ 11464958 w 12192000"/>
              <a:gd name="connsiteY104" fmla="*/ 309724 h 6858000"/>
              <a:gd name="connsiteX105" fmla="*/ 11451707 w 12192000"/>
              <a:gd name="connsiteY105" fmla="*/ 341540 h 6858000"/>
              <a:gd name="connsiteX106" fmla="*/ 11434617 w 12192000"/>
              <a:gd name="connsiteY106" fmla="*/ 304671 h 6858000"/>
              <a:gd name="connsiteX107" fmla="*/ 11431168 w 12192000"/>
              <a:gd name="connsiteY107" fmla="*/ 303088 h 6858000"/>
              <a:gd name="connsiteX108" fmla="*/ 11363720 w 12192000"/>
              <a:gd name="connsiteY108" fmla="*/ 301700 h 6858000"/>
              <a:gd name="connsiteX109" fmla="*/ 11344960 w 12192000"/>
              <a:gd name="connsiteY109" fmla="*/ 305062 h 6858000"/>
              <a:gd name="connsiteX110" fmla="*/ 11319108 w 12192000"/>
              <a:gd name="connsiteY110" fmla="*/ 337268 h 6858000"/>
              <a:gd name="connsiteX111" fmla="*/ 11363720 w 12192000"/>
              <a:gd name="connsiteY111" fmla="*/ 372836 h 6858000"/>
              <a:gd name="connsiteX112" fmla="*/ 11405165 w 12192000"/>
              <a:gd name="connsiteY112" fmla="*/ 351452 h 6858000"/>
              <a:gd name="connsiteX113" fmla="*/ 11408440 w 12192000"/>
              <a:gd name="connsiteY113" fmla="*/ 337268 h 6858000"/>
              <a:gd name="connsiteX114" fmla="*/ 11363720 w 12192000"/>
              <a:gd name="connsiteY114" fmla="*/ 301700 h 6858000"/>
              <a:gd name="connsiteX115" fmla="*/ 11471790 w 12192000"/>
              <a:gd name="connsiteY115" fmla="*/ 248738 h 6858000"/>
              <a:gd name="connsiteX116" fmla="*/ 11471790 w 12192000"/>
              <a:gd name="connsiteY116" fmla="*/ 248912 h 6858000"/>
              <a:gd name="connsiteX117" fmla="*/ 11469187 w 12192000"/>
              <a:gd name="connsiteY117" fmla="*/ 248912 h 6858000"/>
              <a:gd name="connsiteX118" fmla="*/ 11471790 w 12192000"/>
              <a:gd name="connsiteY118" fmla="*/ 248738 h 6858000"/>
              <a:gd name="connsiteX119" fmla="*/ 11805976 w 12192000"/>
              <a:gd name="connsiteY119" fmla="*/ 226898 h 6858000"/>
              <a:gd name="connsiteX120" fmla="*/ 11816060 w 12192000"/>
              <a:gd name="connsiteY120" fmla="*/ 246678 h 6858000"/>
              <a:gd name="connsiteX121" fmla="*/ 11795826 w 12192000"/>
              <a:gd name="connsiteY121" fmla="*/ 246678 h 6858000"/>
              <a:gd name="connsiteX122" fmla="*/ 11797149 w 12192000"/>
              <a:gd name="connsiteY122" fmla="*/ 244357 h 6858000"/>
              <a:gd name="connsiteX123" fmla="*/ 11801486 w 12192000"/>
              <a:gd name="connsiteY123" fmla="*/ 235573 h 6858000"/>
              <a:gd name="connsiteX124" fmla="*/ 11805976 w 12192000"/>
              <a:gd name="connsiteY124" fmla="*/ 226898 h 6858000"/>
              <a:gd name="connsiteX125" fmla="*/ 11432882 w 12192000"/>
              <a:gd name="connsiteY125" fmla="*/ 221195 h 6858000"/>
              <a:gd name="connsiteX126" fmla="*/ 11468819 w 12192000"/>
              <a:gd name="connsiteY126" fmla="*/ 221195 h 6858000"/>
              <a:gd name="connsiteX127" fmla="*/ 11473850 w 12192000"/>
              <a:gd name="connsiteY127" fmla="*/ 228005 h 6858000"/>
              <a:gd name="connsiteX128" fmla="*/ 11473852 w 12192000"/>
              <a:gd name="connsiteY128" fmla="*/ 228203 h 6858000"/>
              <a:gd name="connsiteX129" fmla="*/ 11468819 w 12192000"/>
              <a:gd name="connsiteY129" fmla="*/ 233145 h 6858000"/>
              <a:gd name="connsiteX130" fmla="*/ 11432882 w 12192000"/>
              <a:gd name="connsiteY130" fmla="*/ 233145 h 6858000"/>
              <a:gd name="connsiteX131" fmla="*/ 11964642 w 12192000"/>
              <a:gd name="connsiteY131" fmla="*/ 221173 h 6858000"/>
              <a:gd name="connsiteX132" fmla="*/ 11983966 w 12192000"/>
              <a:gd name="connsiteY132" fmla="*/ 221195 h 6858000"/>
              <a:gd name="connsiteX133" fmla="*/ 12009080 w 12192000"/>
              <a:gd name="connsiteY133" fmla="*/ 239586 h 6858000"/>
              <a:gd name="connsiteX134" fmla="*/ 11983966 w 12192000"/>
              <a:gd name="connsiteY134" fmla="*/ 257869 h 6858000"/>
              <a:gd name="connsiteX135" fmla="*/ 11964642 w 12192000"/>
              <a:gd name="connsiteY135" fmla="*/ 257869 h 6858000"/>
              <a:gd name="connsiteX136" fmla="*/ 11359296 w 12192000"/>
              <a:gd name="connsiteY136" fmla="*/ 219785 h 6858000"/>
              <a:gd name="connsiteX137" fmla="*/ 11385060 w 12192000"/>
              <a:gd name="connsiteY137" fmla="*/ 239499 h 6858000"/>
              <a:gd name="connsiteX138" fmla="*/ 11382892 w 12192000"/>
              <a:gd name="connsiteY138" fmla="*/ 247328 h 6858000"/>
              <a:gd name="connsiteX139" fmla="*/ 11359361 w 12192000"/>
              <a:gd name="connsiteY139" fmla="*/ 259278 h 6858000"/>
              <a:gd name="connsiteX140" fmla="*/ 11333682 w 12192000"/>
              <a:gd name="connsiteY140" fmla="*/ 239499 h 6858000"/>
              <a:gd name="connsiteX141" fmla="*/ 11335960 w 12192000"/>
              <a:gd name="connsiteY141" fmla="*/ 231084 h 6858000"/>
              <a:gd name="connsiteX142" fmla="*/ 11359296 w 12192000"/>
              <a:gd name="connsiteY142" fmla="*/ 219785 h 6858000"/>
              <a:gd name="connsiteX143" fmla="*/ 11799209 w 12192000"/>
              <a:gd name="connsiteY143" fmla="*/ 205536 h 6858000"/>
              <a:gd name="connsiteX144" fmla="*/ 11795457 w 12192000"/>
              <a:gd name="connsiteY144" fmla="*/ 207206 h 6858000"/>
              <a:gd name="connsiteX145" fmla="*/ 11762925 w 12192000"/>
              <a:gd name="connsiteY145" fmla="*/ 270491 h 6858000"/>
              <a:gd name="connsiteX146" fmla="*/ 11762752 w 12192000"/>
              <a:gd name="connsiteY146" fmla="*/ 271336 h 6858000"/>
              <a:gd name="connsiteX147" fmla="*/ 11766677 w 12192000"/>
              <a:gd name="connsiteY147" fmla="*/ 273766 h 6858000"/>
              <a:gd name="connsiteX148" fmla="*/ 11779170 w 12192000"/>
              <a:gd name="connsiteY148" fmla="*/ 273766 h 6858000"/>
              <a:gd name="connsiteX149" fmla="*/ 11782921 w 12192000"/>
              <a:gd name="connsiteY149" fmla="*/ 271987 h 6858000"/>
              <a:gd name="connsiteX150" fmla="*/ 11787866 w 12192000"/>
              <a:gd name="connsiteY150" fmla="*/ 262379 h 6858000"/>
              <a:gd name="connsiteX151" fmla="*/ 11824150 w 12192000"/>
              <a:gd name="connsiteY151" fmla="*/ 262379 h 6858000"/>
              <a:gd name="connsiteX152" fmla="*/ 11829290 w 12192000"/>
              <a:gd name="connsiteY152" fmla="*/ 271987 h 6858000"/>
              <a:gd name="connsiteX153" fmla="*/ 11833020 w 12192000"/>
              <a:gd name="connsiteY153" fmla="*/ 273766 h 6858000"/>
              <a:gd name="connsiteX154" fmla="*/ 11845534 w 12192000"/>
              <a:gd name="connsiteY154" fmla="*/ 273766 h 6858000"/>
              <a:gd name="connsiteX155" fmla="*/ 11849091 w 12192000"/>
              <a:gd name="connsiteY155" fmla="*/ 272182 h 6858000"/>
              <a:gd name="connsiteX156" fmla="*/ 11849091 w 12192000"/>
              <a:gd name="connsiteY156" fmla="*/ 270491 h 6858000"/>
              <a:gd name="connsiteX157" fmla="*/ 11816559 w 12192000"/>
              <a:gd name="connsiteY157" fmla="*/ 207206 h 6858000"/>
              <a:gd name="connsiteX158" fmla="*/ 11812829 w 12192000"/>
              <a:gd name="connsiteY158" fmla="*/ 205536 h 6858000"/>
              <a:gd name="connsiteX159" fmla="*/ 11417657 w 12192000"/>
              <a:gd name="connsiteY159" fmla="*/ 205493 h 6858000"/>
              <a:gd name="connsiteX160" fmla="*/ 11413927 w 12192000"/>
              <a:gd name="connsiteY160" fmla="*/ 207662 h 6858000"/>
              <a:gd name="connsiteX161" fmla="*/ 11413927 w 12192000"/>
              <a:gd name="connsiteY161" fmla="*/ 271228 h 6858000"/>
              <a:gd name="connsiteX162" fmla="*/ 11417657 w 12192000"/>
              <a:gd name="connsiteY162" fmla="*/ 273549 h 6858000"/>
              <a:gd name="connsiteX163" fmla="*/ 11429130 w 12192000"/>
              <a:gd name="connsiteY163" fmla="*/ 273549 h 6858000"/>
              <a:gd name="connsiteX164" fmla="*/ 11432882 w 12192000"/>
              <a:gd name="connsiteY164" fmla="*/ 271228 h 6858000"/>
              <a:gd name="connsiteX165" fmla="*/ 11432882 w 12192000"/>
              <a:gd name="connsiteY165" fmla="*/ 248912 h 6858000"/>
              <a:gd name="connsiteX166" fmla="*/ 11450796 w 12192000"/>
              <a:gd name="connsiteY166" fmla="*/ 248912 h 6858000"/>
              <a:gd name="connsiteX167" fmla="*/ 11473004 w 12192000"/>
              <a:gd name="connsiteY167" fmla="*/ 272551 h 6858000"/>
              <a:gd name="connsiteX168" fmla="*/ 11476192 w 12192000"/>
              <a:gd name="connsiteY168" fmla="*/ 273657 h 6858000"/>
              <a:gd name="connsiteX169" fmla="*/ 11490940 w 12192000"/>
              <a:gd name="connsiteY169" fmla="*/ 273657 h 6858000"/>
              <a:gd name="connsiteX170" fmla="*/ 11494584 w 12192000"/>
              <a:gd name="connsiteY170" fmla="*/ 271489 h 6858000"/>
              <a:gd name="connsiteX171" fmla="*/ 11494106 w 12192000"/>
              <a:gd name="connsiteY171" fmla="*/ 270361 h 6858000"/>
              <a:gd name="connsiteX172" fmla="*/ 11493261 w 12192000"/>
              <a:gd name="connsiteY172" fmla="*/ 269428 h 6858000"/>
              <a:gd name="connsiteX173" fmla="*/ 11490745 w 12192000"/>
              <a:gd name="connsiteY173" fmla="*/ 266631 h 6858000"/>
              <a:gd name="connsiteX174" fmla="*/ 11483002 w 12192000"/>
              <a:gd name="connsiteY174" fmla="*/ 258606 h 6858000"/>
              <a:gd name="connsiteX175" fmla="*/ 11475260 w 12192000"/>
              <a:gd name="connsiteY175" fmla="*/ 250473 h 6858000"/>
              <a:gd name="connsiteX176" fmla="*/ 11473568 w 12192000"/>
              <a:gd name="connsiteY176" fmla="*/ 248608 h 6858000"/>
              <a:gd name="connsiteX177" fmla="*/ 11492805 w 12192000"/>
              <a:gd name="connsiteY177" fmla="*/ 228070 h 6858000"/>
              <a:gd name="connsiteX178" fmla="*/ 11468819 w 12192000"/>
              <a:gd name="connsiteY178" fmla="*/ 205493 h 6858000"/>
              <a:gd name="connsiteX179" fmla="*/ 11918968 w 12192000"/>
              <a:gd name="connsiteY179" fmla="*/ 205472 h 6858000"/>
              <a:gd name="connsiteX180" fmla="*/ 11915324 w 12192000"/>
              <a:gd name="connsiteY180" fmla="*/ 206860 h 6858000"/>
              <a:gd name="connsiteX181" fmla="*/ 11914847 w 12192000"/>
              <a:gd name="connsiteY181" fmla="*/ 208074 h 6858000"/>
              <a:gd name="connsiteX182" fmla="*/ 11914847 w 12192000"/>
              <a:gd name="connsiteY182" fmla="*/ 246071 h 6858000"/>
              <a:gd name="connsiteX183" fmla="*/ 11873207 w 12192000"/>
              <a:gd name="connsiteY183" fmla="*/ 206664 h 6858000"/>
              <a:gd name="connsiteX184" fmla="*/ 11869845 w 12192000"/>
              <a:gd name="connsiteY184" fmla="*/ 205558 h 6858000"/>
              <a:gd name="connsiteX185" fmla="*/ 11860693 w 12192000"/>
              <a:gd name="connsiteY185" fmla="*/ 205558 h 6858000"/>
              <a:gd name="connsiteX186" fmla="*/ 11857049 w 12192000"/>
              <a:gd name="connsiteY186" fmla="*/ 206946 h 6858000"/>
              <a:gd name="connsiteX187" fmla="*/ 11856594 w 12192000"/>
              <a:gd name="connsiteY187" fmla="*/ 208161 h 6858000"/>
              <a:gd name="connsiteX188" fmla="*/ 11856594 w 12192000"/>
              <a:gd name="connsiteY188" fmla="*/ 271055 h 6858000"/>
              <a:gd name="connsiteX189" fmla="*/ 11857049 w 12192000"/>
              <a:gd name="connsiteY189" fmla="*/ 272270 h 6858000"/>
              <a:gd name="connsiteX190" fmla="*/ 11860693 w 12192000"/>
              <a:gd name="connsiteY190" fmla="*/ 273658 h 6858000"/>
              <a:gd name="connsiteX191" fmla="*/ 11871342 w 12192000"/>
              <a:gd name="connsiteY191" fmla="*/ 273658 h 6858000"/>
              <a:gd name="connsiteX192" fmla="*/ 11875549 w 12192000"/>
              <a:gd name="connsiteY192" fmla="*/ 271055 h 6858000"/>
              <a:gd name="connsiteX193" fmla="*/ 11875549 w 12192000"/>
              <a:gd name="connsiteY193" fmla="*/ 232668 h 6858000"/>
              <a:gd name="connsiteX194" fmla="*/ 11917602 w 12192000"/>
              <a:gd name="connsiteY194" fmla="*/ 272552 h 6858000"/>
              <a:gd name="connsiteX195" fmla="*/ 11921050 w 12192000"/>
              <a:gd name="connsiteY195" fmla="*/ 273658 h 6858000"/>
              <a:gd name="connsiteX196" fmla="*/ 11929725 w 12192000"/>
              <a:gd name="connsiteY196" fmla="*/ 273658 h 6858000"/>
              <a:gd name="connsiteX197" fmla="*/ 11933455 w 12192000"/>
              <a:gd name="connsiteY197" fmla="*/ 272183 h 6858000"/>
              <a:gd name="connsiteX198" fmla="*/ 11933911 w 12192000"/>
              <a:gd name="connsiteY198" fmla="*/ 270968 h 6858000"/>
              <a:gd name="connsiteX199" fmla="*/ 11933911 w 12192000"/>
              <a:gd name="connsiteY199" fmla="*/ 208074 h 6858000"/>
              <a:gd name="connsiteX200" fmla="*/ 11933434 w 12192000"/>
              <a:gd name="connsiteY200" fmla="*/ 206860 h 6858000"/>
              <a:gd name="connsiteX201" fmla="*/ 11929812 w 12192000"/>
              <a:gd name="connsiteY201" fmla="*/ 205472 h 6858000"/>
              <a:gd name="connsiteX202" fmla="*/ 11289959 w 12192000"/>
              <a:gd name="connsiteY202" fmla="*/ 205472 h 6858000"/>
              <a:gd name="connsiteX203" fmla="*/ 11286316 w 12192000"/>
              <a:gd name="connsiteY203" fmla="*/ 206860 h 6858000"/>
              <a:gd name="connsiteX204" fmla="*/ 11285839 w 12192000"/>
              <a:gd name="connsiteY204" fmla="*/ 208074 h 6858000"/>
              <a:gd name="connsiteX205" fmla="*/ 11285947 w 12192000"/>
              <a:gd name="connsiteY205" fmla="*/ 246071 h 6858000"/>
              <a:gd name="connsiteX206" fmla="*/ 11244307 w 12192000"/>
              <a:gd name="connsiteY206" fmla="*/ 206664 h 6858000"/>
              <a:gd name="connsiteX207" fmla="*/ 11240945 w 12192000"/>
              <a:gd name="connsiteY207" fmla="*/ 205558 h 6858000"/>
              <a:gd name="connsiteX208" fmla="*/ 11231793 w 12192000"/>
              <a:gd name="connsiteY208" fmla="*/ 205558 h 6858000"/>
              <a:gd name="connsiteX209" fmla="*/ 11228149 w 12192000"/>
              <a:gd name="connsiteY209" fmla="*/ 206946 h 6858000"/>
              <a:gd name="connsiteX210" fmla="*/ 11227694 w 12192000"/>
              <a:gd name="connsiteY210" fmla="*/ 208161 h 6858000"/>
              <a:gd name="connsiteX211" fmla="*/ 11227694 w 12192000"/>
              <a:gd name="connsiteY211" fmla="*/ 271055 h 6858000"/>
              <a:gd name="connsiteX212" fmla="*/ 11228149 w 12192000"/>
              <a:gd name="connsiteY212" fmla="*/ 272270 h 6858000"/>
              <a:gd name="connsiteX213" fmla="*/ 11231793 w 12192000"/>
              <a:gd name="connsiteY213" fmla="*/ 273658 h 6858000"/>
              <a:gd name="connsiteX214" fmla="*/ 11242442 w 12192000"/>
              <a:gd name="connsiteY214" fmla="*/ 273658 h 6858000"/>
              <a:gd name="connsiteX215" fmla="*/ 11246649 w 12192000"/>
              <a:gd name="connsiteY215" fmla="*/ 271055 h 6858000"/>
              <a:gd name="connsiteX216" fmla="*/ 11246649 w 12192000"/>
              <a:gd name="connsiteY216" fmla="*/ 232668 h 6858000"/>
              <a:gd name="connsiteX217" fmla="*/ 11288485 w 12192000"/>
              <a:gd name="connsiteY217" fmla="*/ 272552 h 6858000"/>
              <a:gd name="connsiteX218" fmla="*/ 11291933 w 12192000"/>
              <a:gd name="connsiteY218" fmla="*/ 273658 h 6858000"/>
              <a:gd name="connsiteX219" fmla="*/ 11300608 w 12192000"/>
              <a:gd name="connsiteY219" fmla="*/ 273658 h 6858000"/>
              <a:gd name="connsiteX220" fmla="*/ 11304338 w 12192000"/>
              <a:gd name="connsiteY220" fmla="*/ 272183 h 6858000"/>
              <a:gd name="connsiteX221" fmla="*/ 11304794 w 12192000"/>
              <a:gd name="connsiteY221" fmla="*/ 270969 h 6858000"/>
              <a:gd name="connsiteX222" fmla="*/ 11304794 w 12192000"/>
              <a:gd name="connsiteY222" fmla="*/ 208074 h 6858000"/>
              <a:gd name="connsiteX223" fmla="*/ 11304338 w 12192000"/>
              <a:gd name="connsiteY223" fmla="*/ 206860 h 6858000"/>
              <a:gd name="connsiteX224" fmla="*/ 11300695 w 12192000"/>
              <a:gd name="connsiteY224" fmla="*/ 205472 h 6858000"/>
              <a:gd name="connsiteX225" fmla="*/ 11950523 w 12192000"/>
              <a:gd name="connsiteY225" fmla="*/ 205428 h 6858000"/>
              <a:gd name="connsiteX226" fmla="*/ 11945752 w 12192000"/>
              <a:gd name="connsiteY226" fmla="*/ 208681 h 6858000"/>
              <a:gd name="connsiteX227" fmla="*/ 11945752 w 12192000"/>
              <a:gd name="connsiteY227" fmla="*/ 270383 h 6858000"/>
              <a:gd name="connsiteX228" fmla="*/ 11950523 w 12192000"/>
              <a:gd name="connsiteY228" fmla="*/ 273657 h 6858000"/>
              <a:gd name="connsiteX229" fmla="*/ 11984031 w 12192000"/>
              <a:gd name="connsiteY229" fmla="*/ 273657 h 6858000"/>
              <a:gd name="connsiteX230" fmla="*/ 12027992 w 12192000"/>
              <a:gd name="connsiteY230" fmla="*/ 239586 h 6858000"/>
              <a:gd name="connsiteX231" fmla="*/ 11984031 w 12192000"/>
              <a:gd name="connsiteY231" fmla="*/ 205428 h 6858000"/>
              <a:gd name="connsiteX232" fmla="*/ 11690532 w 12192000"/>
              <a:gd name="connsiteY232" fmla="*/ 205428 h 6858000"/>
              <a:gd name="connsiteX233" fmla="*/ 11686975 w 12192000"/>
              <a:gd name="connsiteY233" fmla="*/ 206816 h 6858000"/>
              <a:gd name="connsiteX234" fmla="*/ 11686498 w 12192000"/>
              <a:gd name="connsiteY234" fmla="*/ 207944 h 6858000"/>
              <a:gd name="connsiteX235" fmla="*/ 11686498 w 12192000"/>
              <a:gd name="connsiteY235" fmla="*/ 271033 h 6858000"/>
              <a:gd name="connsiteX236" fmla="*/ 11686975 w 12192000"/>
              <a:gd name="connsiteY236" fmla="*/ 272161 h 6858000"/>
              <a:gd name="connsiteX237" fmla="*/ 11690532 w 12192000"/>
              <a:gd name="connsiteY237" fmla="*/ 273549 h 6858000"/>
              <a:gd name="connsiteX238" fmla="*/ 11750910 w 12192000"/>
              <a:gd name="connsiteY238" fmla="*/ 273549 h 6858000"/>
              <a:gd name="connsiteX239" fmla="*/ 11754554 w 12192000"/>
              <a:gd name="connsiteY239" fmla="*/ 271792 h 6858000"/>
              <a:gd name="connsiteX240" fmla="*/ 11758284 w 12192000"/>
              <a:gd name="connsiteY240" fmla="*/ 260493 h 6858000"/>
              <a:gd name="connsiteX241" fmla="*/ 11758284 w 12192000"/>
              <a:gd name="connsiteY241" fmla="*/ 260211 h 6858000"/>
              <a:gd name="connsiteX242" fmla="*/ 11754554 w 12192000"/>
              <a:gd name="connsiteY242" fmla="*/ 257782 h 6858000"/>
              <a:gd name="connsiteX243" fmla="*/ 11705453 w 12192000"/>
              <a:gd name="connsiteY243" fmla="*/ 257782 h 6858000"/>
              <a:gd name="connsiteX244" fmla="*/ 11705388 w 12192000"/>
              <a:gd name="connsiteY244" fmla="*/ 207944 h 6858000"/>
              <a:gd name="connsiteX245" fmla="*/ 11704933 w 12192000"/>
              <a:gd name="connsiteY245" fmla="*/ 206816 h 6858000"/>
              <a:gd name="connsiteX246" fmla="*/ 11701376 w 12192000"/>
              <a:gd name="connsiteY246" fmla="*/ 205428 h 6858000"/>
              <a:gd name="connsiteX247" fmla="*/ 11601308 w 12192000"/>
              <a:gd name="connsiteY247" fmla="*/ 205428 h 6858000"/>
              <a:gd name="connsiteX248" fmla="*/ 11597773 w 12192000"/>
              <a:gd name="connsiteY248" fmla="*/ 206816 h 6858000"/>
              <a:gd name="connsiteX249" fmla="*/ 11597296 w 12192000"/>
              <a:gd name="connsiteY249" fmla="*/ 207944 h 6858000"/>
              <a:gd name="connsiteX250" fmla="*/ 11597296 w 12192000"/>
              <a:gd name="connsiteY250" fmla="*/ 271033 h 6858000"/>
              <a:gd name="connsiteX251" fmla="*/ 11597665 w 12192000"/>
              <a:gd name="connsiteY251" fmla="*/ 272161 h 6858000"/>
              <a:gd name="connsiteX252" fmla="*/ 11601308 w 12192000"/>
              <a:gd name="connsiteY252" fmla="*/ 273657 h 6858000"/>
              <a:gd name="connsiteX253" fmla="*/ 11612152 w 12192000"/>
              <a:gd name="connsiteY253" fmla="*/ 273657 h 6858000"/>
              <a:gd name="connsiteX254" fmla="*/ 11615796 w 12192000"/>
              <a:gd name="connsiteY254" fmla="*/ 272248 h 6858000"/>
              <a:gd name="connsiteX255" fmla="*/ 11616273 w 12192000"/>
              <a:gd name="connsiteY255" fmla="*/ 271033 h 6858000"/>
              <a:gd name="connsiteX256" fmla="*/ 11616273 w 12192000"/>
              <a:gd name="connsiteY256" fmla="*/ 247415 h 6858000"/>
              <a:gd name="connsiteX257" fmla="*/ 11655744 w 12192000"/>
              <a:gd name="connsiteY257" fmla="*/ 247415 h 6858000"/>
              <a:gd name="connsiteX258" fmla="*/ 11655744 w 12192000"/>
              <a:gd name="connsiteY258" fmla="*/ 271055 h 6858000"/>
              <a:gd name="connsiteX259" fmla="*/ 11656113 w 12192000"/>
              <a:gd name="connsiteY259" fmla="*/ 272183 h 6858000"/>
              <a:gd name="connsiteX260" fmla="*/ 11659757 w 12192000"/>
              <a:gd name="connsiteY260" fmla="*/ 273679 h 6858000"/>
              <a:gd name="connsiteX261" fmla="*/ 11670600 w 12192000"/>
              <a:gd name="connsiteY261" fmla="*/ 273679 h 6858000"/>
              <a:gd name="connsiteX262" fmla="*/ 11674244 w 12192000"/>
              <a:gd name="connsiteY262" fmla="*/ 272183 h 6858000"/>
              <a:gd name="connsiteX263" fmla="*/ 11674613 w 12192000"/>
              <a:gd name="connsiteY263" fmla="*/ 271055 h 6858000"/>
              <a:gd name="connsiteX264" fmla="*/ 11674613 w 12192000"/>
              <a:gd name="connsiteY264" fmla="*/ 207944 h 6858000"/>
              <a:gd name="connsiteX265" fmla="*/ 11674157 w 12192000"/>
              <a:gd name="connsiteY265" fmla="*/ 206816 h 6858000"/>
              <a:gd name="connsiteX266" fmla="*/ 11670600 w 12192000"/>
              <a:gd name="connsiteY266" fmla="*/ 205428 h 6858000"/>
              <a:gd name="connsiteX267" fmla="*/ 11659757 w 12192000"/>
              <a:gd name="connsiteY267" fmla="*/ 205428 h 6858000"/>
              <a:gd name="connsiteX268" fmla="*/ 11656221 w 12192000"/>
              <a:gd name="connsiteY268" fmla="*/ 206816 h 6858000"/>
              <a:gd name="connsiteX269" fmla="*/ 11655744 w 12192000"/>
              <a:gd name="connsiteY269" fmla="*/ 207944 h 6858000"/>
              <a:gd name="connsiteX270" fmla="*/ 11655744 w 12192000"/>
              <a:gd name="connsiteY270" fmla="*/ 231648 h 6858000"/>
              <a:gd name="connsiteX271" fmla="*/ 11616273 w 12192000"/>
              <a:gd name="connsiteY271" fmla="*/ 231648 h 6858000"/>
              <a:gd name="connsiteX272" fmla="*/ 11616273 w 12192000"/>
              <a:gd name="connsiteY272" fmla="*/ 207944 h 6858000"/>
              <a:gd name="connsiteX273" fmla="*/ 11615796 w 12192000"/>
              <a:gd name="connsiteY273" fmla="*/ 206729 h 6858000"/>
              <a:gd name="connsiteX274" fmla="*/ 11612152 w 12192000"/>
              <a:gd name="connsiteY274" fmla="*/ 205428 h 6858000"/>
              <a:gd name="connsiteX275" fmla="*/ 11508984 w 12192000"/>
              <a:gd name="connsiteY275" fmla="*/ 205427 h 6858000"/>
              <a:gd name="connsiteX276" fmla="*/ 11505709 w 12192000"/>
              <a:gd name="connsiteY276" fmla="*/ 207011 h 6858000"/>
              <a:gd name="connsiteX277" fmla="*/ 11501979 w 12192000"/>
              <a:gd name="connsiteY277" fmla="*/ 217356 h 6858000"/>
              <a:gd name="connsiteX278" fmla="*/ 11505341 w 12192000"/>
              <a:gd name="connsiteY278" fmla="*/ 219785 h 6858000"/>
              <a:gd name="connsiteX279" fmla="*/ 11534272 w 12192000"/>
              <a:gd name="connsiteY279" fmla="*/ 219785 h 6858000"/>
              <a:gd name="connsiteX280" fmla="*/ 11534272 w 12192000"/>
              <a:gd name="connsiteY280" fmla="*/ 271315 h 6858000"/>
              <a:gd name="connsiteX281" fmla="*/ 11537916 w 12192000"/>
              <a:gd name="connsiteY281" fmla="*/ 273483 h 6858000"/>
              <a:gd name="connsiteX282" fmla="*/ 11549497 w 12192000"/>
              <a:gd name="connsiteY282" fmla="*/ 273483 h 6858000"/>
              <a:gd name="connsiteX283" fmla="*/ 11553140 w 12192000"/>
              <a:gd name="connsiteY283" fmla="*/ 271315 h 6858000"/>
              <a:gd name="connsiteX284" fmla="*/ 11553140 w 12192000"/>
              <a:gd name="connsiteY284" fmla="*/ 219785 h 6858000"/>
              <a:gd name="connsiteX285" fmla="*/ 11582072 w 12192000"/>
              <a:gd name="connsiteY285" fmla="*/ 219785 h 6858000"/>
              <a:gd name="connsiteX286" fmla="*/ 11585433 w 12192000"/>
              <a:gd name="connsiteY286" fmla="*/ 217356 h 6858000"/>
              <a:gd name="connsiteX287" fmla="*/ 11581508 w 12192000"/>
              <a:gd name="connsiteY287" fmla="*/ 207011 h 6858000"/>
              <a:gd name="connsiteX288" fmla="*/ 11578233 w 12192000"/>
              <a:gd name="connsiteY288" fmla="*/ 205427 h 6858000"/>
              <a:gd name="connsiteX289" fmla="*/ 11359361 w 12192000"/>
              <a:gd name="connsiteY289" fmla="*/ 203931 h 6858000"/>
              <a:gd name="connsiteX290" fmla="*/ 11340601 w 12192000"/>
              <a:gd name="connsiteY290" fmla="*/ 207293 h 6858000"/>
              <a:gd name="connsiteX291" fmla="*/ 11314749 w 12192000"/>
              <a:gd name="connsiteY291" fmla="*/ 239499 h 6858000"/>
              <a:gd name="connsiteX292" fmla="*/ 11359361 w 12192000"/>
              <a:gd name="connsiteY292" fmla="*/ 275067 h 6858000"/>
              <a:gd name="connsiteX293" fmla="*/ 11400806 w 12192000"/>
              <a:gd name="connsiteY293" fmla="*/ 253704 h 6858000"/>
              <a:gd name="connsiteX294" fmla="*/ 11404081 w 12192000"/>
              <a:gd name="connsiteY294" fmla="*/ 239499 h 6858000"/>
              <a:gd name="connsiteX295" fmla="*/ 11359361 w 12192000"/>
              <a:gd name="connsiteY295" fmla="*/ 203931 h 6858000"/>
              <a:gd name="connsiteX296" fmla="*/ 10974606 w 12192000"/>
              <a:gd name="connsiteY296" fmla="*/ 202289 h 6858000"/>
              <a:gd name="connsiteX297" fmla="*/ 10820270 w 12192000"/>
              <a:gd name="connsiteY297" fmla="*/ 295541 h 6858000"/>
              <a:gd name="connsiteX298" fmla="*/ 10922896 w 12192000"/>
              <a:gd name="connsiteY298" fmla="*/ 485351 h 6858000"/>
              <a:gd name="connsiteX299" fmla="*/ 11036192 w 12192000"/>
              <a:gd name="connsiteY299" fmla="*/ 481014 h 6858000"/>
              <a:gd name="connsiteX300" fmla="*/ 11328586 w 12192000"/>
              <a:gd name="connsiteY300" fmla="*/ 400075 h 6858000"/>
              <a:gd name="connsiteX301" fmla="*/ 10858440 w 12192000"/>
              <a:gd name="connsiteY301" fmla="*/ 382725 h 6858000"/>
              <a:gd name="connsiteX302" fmla="*/ 11034110 w 12192000"/>
              <a:gd name="connsiteY302" fmla="*/ 212498 h 6858000"/>
              <a:gd name="connsiteX303" fmla="*/ 10974606 w 12192000"/>
              <a:gd name="connsiteY303" fmla="*/ 202289 h 6858000"/>
              <a:gd name="connsiteX304" fmla="*/ 11011804 w 12192000"/>
              <a:gd name="connsiteY304" fmla="*/ 152090 h 6858000"/>
              <a:gd name="connsiteX305" fmla="*/ 10952478 w 12192000"/>
              <a:gd name="connsiteY305" fmla="*/ 161727 h 6858000"/>
              <a:gd name="connsiteX306" fmla="*/ 10660106 w 12192000"/>
              <a:gd name="connsiteY306" fmla="*/ 242666 h 6858000"/>
              <a:gd name="connsiteX307" fmla="*/ 11130230 w 12192000"/>
              <a:gd name="connsiteY307" fmla="*/ 260016 h 6858000"/>
              <a:gd name="connsiteX308" fmla="*/ 10954560 w 12192000"/>
              <a:gd name="connsiteY308" fmla="*/ 430221 h 6858000"/>
              <a:gd name="connsiteX309" fmla="*/ 11168422 w 12192000"/>
              <a:gd name="connsiteY309" fmla="*/ 347179 h 6858000"/>
              <a:gd name="connsiteX310" fmla="*/ 11065796 w 12192000"/>
              <a:gd name="connsiteY310" fmla="*/ 157368 h 6858000"/>
              <a:gd name="connsiteX311" fmla="*/ 11011804 w 12192000"/>
              <a:gd name="connsiteY311" fmla="*/ 152090 h 6858000"/>
              <a:gd name="connsiteX312" fmla="*/ 0 w 12192000"/>
              <a:gd name="connsiteY312" fmla="*/ 0 h 6858000"/>
              <a:gd name="connsiteX313" fmla="*/ 12192000 w 12192000"/>
              <a:gd name="connsiteY313" fmla="*/ 0 h 6858000"/>
              <a:gd name="connsiteX314" fmla="*/ 12192000 w 12192000"/>
              <a:gd name="connsiteY314" fmla="*/ 6858000 h 6858000"/>
              <a:gd name="connsiteX315" fmla="*/ 0 w 12192000"/>
              <a:gd name="connsiteY3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</a:cxnLst>
            <a:rect l="l" t="t" r="r" b="b"/>
            <a:pathLst>
              <a:path w="12192000" h="6858000">
                <a:moveTo>
                  <a:pt x="11691356" y="346463"/>
                </a:moveTo>
                <a:lnTo>
                  <a:pt x="11691356" y="346658"/>
                </a:lnTo>
                <a:lnTo>
                  <a:pt x="11688753" y="346658"/>
                </a:lnTo>
                <a:cubicBezTo>
                  <a:pt x="11689686" y="346463"/>
                  <a:pt x="11690510" y="346463"/>
                  <a:pt x="11691356" y="346463"/>
                </a:cubicBezTo>
                <a:close/>
                <a:moveTo>
                  <a:pt x="11652426" y="318920"/>
                </a:moveTo>
                <a:lnTo>
                  <a:pt x="11688363" y="318920"/>
                </a:lnTo>
                <a:cubicBezTo>
                  <a:pt x="11691247" y="318920"/>
                  <a:pt x="11693416" y="323214"/>
                  <a:pt x="11693416" y="325752"/>
                </a:cubicBezTo>
                <a:cubicBezTo>
                  <a:pt x="11693418" y="325817"/>
                  <a:pt x="11693418" y="325883"/>
                  <a:pt x="11693418" y="325949"/>
                </a:cubicBezTo>
                <a:cubicBezTo>
                  <a:pt x="11693381" y="328703"/>
                  <a:pt x="11691117" y="330907"/>
                  <a:pt x="11688363" y="330870"/>
                </a:cubicBezTo>
                <a:lnTo>
                  <a:pt x="11652426" y="330870"/>
                </a:lnTo>
                <a:close/>
                <a:moveTo>
                  <a:pt x="11246649" y="318876"/>
                </a:moveTo>
                <a:lnTo>
                  <a:pt x="11282586" y="318876"/>
                </a:lnTo>
                <a:cubicBezTo>
                  <a:pt x="11285578" y="318876"/>
                  <a:pt x="11287617" y="323756"/>
                  <a:pt x="11287617" y="326358"/>
                </a:cubicBezTo>
                <a:cubicBezTo>
                  <a:pt x="11287617" y="328961"/>
                  <a:pt x="11285188" y="332409"/>
                  <a:pt x="11282390" y="332409"/>
                </a:cubicBezTo>
                <a:lnTo>
                  <a:pt x="11246649" y="332409"/>
                </a:lnTo>
                <a:close/>
                <a:moveTo>
                  <a:pt x="11363655" y="317575"/>
                </a:moveTo>
                <a:cubicBezTo>
                  <a:pt x="11374759" y="317575"/>
                  <a:pt x="11389420" y="324472"/>
                  <a:pt x="11389420" y="337268"/>
                </a:cubicBezTo>
                <a:cubicBezTo>
                  <a:pt x="11389413" y="340032"/>
                  <a:pt x="11388663" y="342743"/>
                  <a:pt x="11387251" y="345119"/>
                </a:cubicBezTo>
                <a:cubicBezTo>
                  <a:pt x="11383802" y="351365"/>
                  <a:pt x="11374997" y="357069"/>
                  <a:pt x="11363720" y="357069"/>
                </a:cubicBezTo>
                <a:cubicBezTo>
                  <a:pt x="11352442" y="357069"/>
                  <a:pt x="11338063" y="350150"/>
                  <a:pt x="11338063" y="337268"/>
                </a:cubicBezTo>
                <a:cubicBezTo>
                  <a:pt x="11338098" y="334325"/>
                  <a:pt x="11338872" y="331438"/>
                  <a:pt x="11340319" y="328875"/>
                </a:cubicBezTo>
                <a:cubicBezTo>
                  <a:pt x="11344136" y="322997"/>
                  <a:pt x="11352550" y="317575"/>
                  <a:pt x="11363655" y="317575"/>
                </a:cubicBezTo>
                <a:close/>
                <a:moveTo>
                  <a:pt x="11551123" y="303283"/>
                </a:moveTo>
                <a:cubicBezTo>
                  <a:pt x="11549726" y="303141"/>
                  <a:pt x="11548345" y="303663"/>
                  <a:pt x="11547393" y="304693"/>
                </a:cubicBezTo>
                <a:cubicBezTo>
                  <a:pt x="11547013" y="305015"/>
                  <a:pt x="11546805" y="305496"/>
                  <a:pt x="11546829" y="305994"/>
                </a:cubicBezTo>
                <a:lnTo>
                  <a:pt x="11546829" y="368259"/>
                </a:lnTo>
                <a:cubicBezTo>
                  <a:pt x="11546805" y="368762"/>
                  <a:pt x="11547013" y="369250"/>
                  <a:pt x="11547393" y="369582"/>
                </a:cubicBezTo>
                <a:cubicBezTo>
                  <a:pt x="11548334" y="370638"/>
                  <a:pt x="11549713" y="371191"/>
                  <a:pt x="11551123" y="371079"/>
                </a:cubicBezTo>
                <a:lnTo>
                  <a:pt x="11612131" y="371079"/>
                </a:lnTo>
                <a:cubicBezTo>
                  <a:pt x="11613644" y="371170"/>
                  <a:pt x="11615084" y="370408"/>
                  <a:pt x="11615861" y="369105"/>
                </a:cubicBezTo>
                <a:lnTo>
                  <a:pt x="11619396" y="358261"/>
                </a:lnTo>
                <a:cubicBezTo>
                  <a:pt x="11619509" y="358135"/>
                  <a:pt x="11619578" y="357975"/>
                  <a:pt x="11619591" y="357806"/>
                </a:cubicBezTo>
                <a:cubicBezTo>
                  <a:pt x="11619591" y="356960"/>
                  <a:pt x="11617834" y="355377"/>
                  <a:pt x="11615666" y="355377"/>
                </a:cubicBezTo>
                <a:lnTo>
                  <a:pt x="11565784" y="355377"/>
                </a:lnTo>
                <a:lnTo>
                  <a:pt x="11565784" y="345162"/>
                </a:lnTo>
                <a:lnTo>
                  <a:pt x="11598619" y="345162"/>
                </a:lnTo>
                <a:cubicBezTo>
                  <a:pt x="11600484" y="345162"/>
                  <a:pt x="11602241" y="343926"/>
                  <a:pt x="11602436" y="342993"/>
                </a:cubicBezTo>
                <a:lnTo>
                  <a:pt x="11606080" y="331976"/>
                </a:lnTo>
                <a:lnTo>
                  <a:pt x="11606080" y="331781"/>
                </a:lnTo>
                <a:cubicBezTo>
                  <a:pt x="11606080" y="330848"/>
                  <a:pt x="11604301" y="329265"/>
                  <a:pt x="11602241" y="329265"/>
                </a:cubicBezTo>
                <a:lnTo>
                  <a:pt x="11565849" y="329265"/>
                </a:lnTo>
                <a:lnTo>
                  <a:pt x="11565849" y="319006"/>
                </a:lnTo>
                <a:lnTo>
                  <a:pt x="11615731" y="319006"/>
                </a:lnTo>
                <a:cubicBezTo>
                  <a:pt x="11617878" y="319006"/>
                  <a:pt x="11619656" y="317510"/>
                  <a:pt x="11619656" y="316577"/>
                </a:cubicBezTo>
                <a:cubicBezTo>
                  <a:pt x="11619641" y="316376"/>
                  <a:pt x="11619574" y="316181"/>
                  <a:pt x="11619461" y="316014"/>
                </a:cubicBezTo>
                <a:lnTo>
                  <a:pt x="11615926" y="305170"/>
                </a:lnTo>
                <a:cubicBezTo>
                  <a:pt x="11615731" y="304324"/>
                  <a:pt x="11614061" y="303283"/>
                  <a:pt x="11612196" y="303283"/>
                </a:cubicBezTo>
                <a:close/>
                <a:moveTo>
                  <a:pt x="11637223" y="303218"/>
                </a:moveTo>
                <a:cubicBezTo>
                  <a:pt x="11635358" y="303218"/>
                  <a:pt x="11633493" y="304736"/>
                  <a:pt x="11633493" y="305387"/>
                </a:cubicBezTo>
                <a:lnTo>
                  <a:pt x="11633493" y="368953"/>
                </a:lnTo>
                <a:cubicBezTo>
                  <a:pt x="11634076" y="370478"/>
                  <a:pt x="11635597" y="371432"/>
                  <a:pt x="11637223" y="371296"/>
                </a:cubicBezTo>
                <a:lnTo>
                  <a:pt x="11648696" y="371296"/>
                </a:lnTo>
                <a:cubicBezTo>
                  <a:pt x="11650320" y="371426"/>
                  <a:pt x="11651836" y="370474"/>
                  <a:pt x="11652426" y="368953"/>
                </a:cubicBezTo>
                <a:lnTo>
                  <a:pt x="11652426" y="346658"/>
                </a:lnTo>
                <a:lnTo>
                  <a:pt x="11670362" y="346658"/>
                </a:lnTo>
                <a:lnTo>
                  <a:pt x="11692570" y="370255"/>
                </a:lnTo>
                <a:cubicBezTo>
                  <a:pt x="11693423" y="371057"/>
                  <a:pt x="11694570" y="371465"/>
                  <a:pt x="11695737" y="371382"/>
                </a:cubicBezTo>
                <a:lnTo>
                  <a:pt x="11710506" y="371382"/>
                </a:lnTo>
                <a:cubicBezTo>
                  <a:pt x="11712545" y="371382"/>
                  <a:pt x="11714128" y="369864"/>
                  <a:pt x="11714128" y="369214"/>
                </a:cubicBezTo>
                <a:cubicBezTo>
                  <a:pt x="11714087" y="368802"/>
                  <a:pt x="11713928" y="368411"/>
                  <a:pt x="11713672" y="368086"/>
                </a:cubicBezTo>
                <a:cubicBezTo>
                  <a:pt x="11713477" y="367804"/>
                  <a:pt x="11713390" y="367782"/>
                  <a:pt x="11712827" y="367153"/>
                </a:cubicBezTo>
                <a:cubicBezTo>
                  <a:pt x="11712263" y="366524"/>
                  <a:pt x="11711439" y="365570"/>
                  <a:pt x="11710311" y="364356"/>
                </a:cubicBezTo>
                <a:lnTo>
                  <a:pt x="11702568" y="356331"/>
                </a:lnTo>
                <a:cubicBezTo>
                  <a:pt x="11699749" y="353425"/>
                  <a:pt x="11696973" y="350367"/>
                  <a:pt x="11694804" y="348198"/>
                </a:cubicBezTo>
                <a:cubicBezTo>
                  <a:pt x="11694214" y="347606"/>
                  <a:pt x="11693657" y="346984"/>
                  <a:pt x="11693134" y="346333"/>
                </a:cubicBezTo>
                <a:cubicBezTo>
                  <a:pt x="11703674" y="344750"/>
                  <a:pt x="11712349" y="336660"/>
                  <a:pt x="11712349" y="325817"/>
                </a:cubicBezTo>
                <a:cubicBezTo>
                  <a:pt x="11712349" y="312739"/>
                  <a:pt x="11700985" y="303218"/>
                  <a:pt x="11688363" y="303218"/>
                </a:cubicBezTo>
                <a:close/>
                <a:moveTo>
                  <a:pt x="11231619" y="303109"/>
                </a:moveTo>
                <a:cubicBezTo>
                  <a:pt x="11230210" y="303109"/>
                  <a:pt x="11227694" y="303846"/>
                  <a:pt x="11227694" y="305625"/>
                </a:cubicBezTo>
                <a:lnTo>
                  <a:pt x="11227694" y="368910"/>
                </a:lnTo>
                <a:cubicBezTo>
                  <a:pt x="11228447" y="370389"/>
                  <a:pt x="11229960" y="371326"/>
                  <a:pt x="11231619" y="371339"/>
                </a:cubicBezTo>
                <a:lnTo>
                  <a:pt x="11242724" y="371339"/>
                </a:lnTo>
                <a:cubicBezTo>
                  <a:pt x="11244372" y="371286"/>
                  <a:pt x="11245868" y="370363"/>
                  <a:pt x="11246649" y="368910"/>
                </a:cubicBezTo>
                <a:lnTo>
                  <a:pt x="11246649" y="348198"/>
                </a:lnTo>
                <a:lnTo>
                  <a:pt x="11282173" y="348219"/>
                </a:lnTo>
                <a:cubicBezTo>
                  <a:pt x="11294861" y="348219"/>
                  <a:pt x="11306052" y="339414"/>
                  <a:pt x="11306529" y="326532"/>
                </a:cubicBezTo>
                <a:lnTo>
                  <a:pt x="11306529" y="326163"/>
                </a:lnTo>
                <a:cubicBezTo>
                  <a:pt x="11306221" y="313195"/>
                  <a:pt x="11295511" y="302903"/>
                  <a:pt x="11282542" y="303109"/>
                </a:cubicBezTo>
                <a:close/>
                <a:moveTo>
                  <a:pt x="11418286" y="303088"/>
                </a:moveTo>
                <a:cubicBezTo>
                  <a:pt x="11416226" y="303088"/>
                  <a:pt x="11414729" y="304606"/>
                  <a:pt x="11414729" y="305257"/>
                </a:cubicBezTo>
                <a:cubicBezTo>
                  <a:pt x="11414705" y="305479"/>
                  <a:pt x="11414742" y="305704"/>
                  <a:pt x="11414837" y="305907"/>
                </a:cubicBezTo>
                <a:lnTo>
                  <a:pt x="11444398" y="369951"/>
                </a:lnTo>
                <a:cubicBezTo>
                  <a:pt x="11444795" y="370625"/>
                  <a:pt x="11445428" y="371129"/>
                  <a:pt x="11446176" y="371361"/>
                </a:cubicBezTo>
                <a:lnTo>
                  <a:pt x="11446914" y="371534"/>
                </a:lnTo>
                <a:lnTo>
                  <a:pt x="11456630" y="371534"/>
                </a:lnTo>
                <a:cubicBezTo>
                  <a:pt x="11457944" y="371417"/>
                  <a:pt x="11459171" y="370823"/>
                  <a:pt x="11460078" y="369864"/>
                </a:cubicBezTo>
                <a:lnTo>
                  <a:pt x="11474826" y="334383"/>
                </a:lnTo>
                <a:lnTo>
                  <a:pt x="11489487" y="369864"/>
                </a:lnTo>
                <a:cubicBezTo>
                  <a:pt x="11489487" y="370038"/>
                  <a:pt x="11490332" y="370797"/>
                  <a:pt x="11490506" y="370992"/>
                </a:cubicBezTo>
                <a:lnTo>
                  <a:pt x="11491547" y="371534"/>
                </a:lnTo>
                <a:lnTo>
                  <a:pt x="11501805" y="371534"/>
                </a:lnTo>
                <a:cubicBezTo>
                  <a:pt x="11503152" y="371643"/>
                  <a:pt x="11504458" y="371042"/>
                  <a:pt x="11505254" y="369951"/>
                </a:cubicBezTo>
                <a:lnTo>
                  <a:pt x="11534857" y="306016"/>
                </a:lnTo>
                <a:cubicBezTo>
                  <a:pt x="11534898" y="305801"/>
                  <a:pt x="11534898" y="305580"/>
                  <a:pt x="11534857" y="305365"/>
                </a:cubicBezTo>
                <a:cubicBezTo>
                  <a:pt x="11534857" y="304606"/>
                  <a:pt x="11533274" y="303196"/>
                  <a:pt x="11531322" y="303196"/>
                </a:cubicBezTo>
                <a:lnTo>
                  <a:pt x="11517485" y="303196"/>
                </a:lnTo>
                <a:lnTo>
                  <a:pt x="11516748" y="303391"/>
                </a:lnTo>
                <a:cubicBezTo>
                  <a:pt x="11515980" y="303618"/>
                  <a:pt x="11515319" y="304110"/>
                  <a:pt x="11514883" y="304779"/>
                </a:cubicBezTo>
                <a:lnTo>
                  <a:pt x="11497901" y="341649"/>
                </a:lnTo>
                <a:lnTo>
                  <a:pt x="11484867" y="309724"/>
                </a:lnTo>
                <a:cubicBezTo>
                  <a:pt x="11484195" y="308033"/>
                  <a:pt x="11483457" y="306363"/>
                  <a:pt x="11482698" y="304779"/>
                </a:cubicBezTo>
                <a:cubicBezTo>
                  <a:pt x="11482330" y="303847"/>
                  <a:pt x="11481592" y="303088"/>
                  <a:pt x="11479250" y="303088"/>
                </a:cubicBezTo>
                <a:lnTo>
                  <a:pt x="11470575" y="303088"/>
                </a:lnTo>
                <a:cubicBezTo>
                  <a:pt x="11468796" y="303088"/>
                  <a:pt x="11467322" y="303934"/>
                  <a:pt x="11467126" y="304779"/>
                </a:cubicBezTo>
                <a:cubicBezTo>
                  <a:pt x="11466346" y="306363"/>
                  <a:pt x="11465608" y="308033"/>
                  <a:pt x="11464958" y="309724"/>
                </a:cubicBezTo>
                <a:lnTo>
                  <a:pt x="11451707" y="341540"/>
                </a:lnTo>
                <a:lnTo>
                  <a:pt x="11434617" y="304671"/>
                </a:lnTo>
                <a:cubicBezTo>
                  <a:pt x="11433816" y="303586"/>
                  <a:pt x="11432513" y="302988"/>
                  <a:pt x="11431168" y="303088"/>
                </a:cubicBezTo>
                <a:close/>
                <a:moveTo>
                  <a:pt x="11363720" y="301700"/>
                </a:moveTo>
                <a:cubicBezTo>
                  <a:pt x="11357324" y="301788"/>
                  <a:pt x="11350987" y="302924"/>
                  <a:pt x="11344960" y="305062"/>
                </a:cubicBezTo>
                <a:cubicBezTo>
                  <a:pt x="11325072" y="312067"/>
                  <a:pt x="11319108" y="325795"/>
                  <a:pt x="11319108" y="337268"/>
                </a:cubicBezTo>
                <a:cubicBezTo>
                  <a:pt x="11319108" y="359021"/>
                  <a:pt x="11344027" y="372836"/>
                  <a:pt x="11363720" y="372836"/>
                </a:cubicBezTo>
                <a:cubicBezTo>
                  <a:pt x="11386882" y="372836"/>
                  <a:pt x="11400133" y="361623"/>
                  <a:pt x="11405165" y="351452"/>
                </a:cubicBezTo>
                <a:cubicBezTo>
                  <a:pt x="11407325" y="347036"/>
                  <a:pt x="11408446" y="342184"/>
                  <a:pt x="11408440" y="337268"/>
                </a:cubicBezTo>
                <a:cubicBezTo>
                  <a:pt x="11408440" y="314019"/>
                  <a:pt x="11384366" y="301700"/>
                  <a:pt x="11363720" y="301700"/>
                </a:cubicBezTo>
                <a:close/>
                <a:moveTo>
                  <a:pt x="11471790" y="248738"/>
                </a:moveTo>
                <a:lnTo>
                  <a:pt x="11471790" y="248912"/>
                </a:lnTo>
                <a:lnTo>
                  <a:pt x="11469187" y="248912"/>
                </a:lnTo>
                <a:cubicBezTo>
                  <a:pt x="11470120" y="248738"/>
                  <a:pt x="11470966" y="248738"/>
                  <a:pt x="11471790" y="248738"/>
                </a:cubicBezTo>
                <a:close/>
                <a:moveTo>
                  <a:pt x="11805976" y="226898"/>
                </a:moveTo>
                <a:lnTo>
                  <a:pt x="11816060" y="246678"/>
                </a:lnTo>
                <a:lnTo>
                  <a:pt x="11795826" y="246678"/>
                </a:lnTo>
                <a:cubicBezTo>
                  <a:pt x="11796216" y="246027"/>
                  <a:pt x="11796585" y="245181"/>
                  <a:pt x="11797149" y="244357"/>
                </a:cubicBezTo>
                <a:cubicBezTo>
                  <a:pt x="11798211" y="241928"/>
                  <a:pt x="11799903" y="238653"/>
                  <a:pt x="11801486" y="235573"/>
                </a:cubicBezTo>
                <a:cubicBezTo>
                  <a:pt x="11803069" y="232494"/>
                  <a:pt x="11804761" y="229327"/>
                  <a:pt x="11805976" y="226898"/>
                </a:cubicBezTo>
                <a:close/>
                <a:moveTo>
                  <a:pt x="11432882" y="221195"/>
                </a:moveTo>
                <a:lnTo>
                  <a:pt x="11468819" y="221195"/>
                </a:lnTo>
                <a:cubicBezTo>
                  <a:pt x="11471681" y="221195"/>
                  <a:pt x="11473850" y="225489"/>
                  <a:pt x="11473850" y="228005"/>
                </a:cubicBezTo>
                <a:cubicBezTo>
                  <a:pt x="11473852" y="228071"/>
                  <a:pt x="11473852" y="228137"/>
                  <a:pt x="11473852" y="228203"/>
                </a:cubicBezTo>
                <a:cubicBezTo>
                  <a:pt x="11473826" y="230957"/>
                  <a:pt x="11471573" y="233170"/>
                  <a:pt x="11468819" y="233145"/>
                </a:cubicBezTo>
                <a:lnTo>
                  <a:pt x="11432882" y="233145"/>
                </a:lnTo>
                <a:close/>
                <a:moveTo>
                  <a:pt x="11964642" y="221173"/>
                </a:moveTo>
                <a:lnTo>
                  <a:pt x="11983966" y="221195"/>
                </a:lnTo>
                <a:cubicBezTo>
                  <a:pt x="12002574" y="221195"/>
                  <a:pt x="12009080" y="229415"/>
                  <a:pt x="12009080" y="239586"/>
                </a:cubicBezTo>
                <a:cubicBezTo>
                  <a:pt x="12009080" y="250885"/>
                  <a:pt x="12005155" y="257869"/>
                  <a:pt x="11983966" y="257869"/>
                </a:cubicBezTo>
                <a:lnTo>
                  <a:pt x="11964642" y="257869"/>
                </a:lnTo>
                <a:close/>
                <a:moveTo>
                  <a:pt x="11359296" y="219785"/>
                </a:moveTo>
                <a:cubicBezTo>
                  <a:pt x="11370400" y="219785"/>
                  <a:pt x="11385060" y="226703"/>
                  <a:pt x="11385060" y="239499"/>
                </a:cubicBezTo>
                <a:cubicBezTo>
                  <a:pt x="11385052" y="242256"/>
                  <a:pt x="11384304" y="244960"/>
                  <a:pt x="11382892" y="247328"/>
                </a:cubicBezTo>
                <a:cubicBezTo>
                  <a:pt x="11379422" y="253574"/>
                  <a:pt x="11370660" y="259278"/>
                  <a:pt x="11359361" y="259278"/>
                </a:cubicBezTo>
                <a:cubicBezTo>
                  <a:pt x="11348061" y="259278"/>
                  <a:pt x="11333682" y="252360"/>
                  <a:pt x="11333682" y="239499"/>
                </a:cubicBezTo>
                <a:cubicBezTo>
                  <a:pt x="11333713" y="236546"/>
                  <a:pt x="11334498" y="233649"/>
                  <a:pt x="11335960" y="231084"/>
                </a:cubicBezTo>
                <a:cubicBezTo>
                  <a:pt x="11339777" y="225207"/>
                  <a:pt x="11348191" y="219785"/>
                  <a:pt x="11359296" y="219785"/>
                </a:cubicBezTo>
                <a:close/>
                <a:moveTo>
                  <a:pt x="11799209" y="205536"/>
                </a:moveTo>
                <a:cubicBezTo>
                  <a:pt x="11797758" y="205428"/>
                  <a:pt x="11796348" y="206055"/>
                  <a:pt x="11795457" y="207206"/>
                </a:cubicBezTo>
                <a:lnTo>
                  <a:pt x="11762925" y="270491"/>
                </a:lnTo>
                <a:cubicBezTo>
                  <a:pt x="11762811" y="270758"/>
                  <a:pt x="11762752" y="271046"/>
                  <a:pt x="11762752" y="271336"/>
                </a:cubicBezTo>
                <a:cubicBezTo>
                  <a:pt x="11762752" y="272074"/>
                  <a:pt x="11764509" y="273766"/>
                  <a:pt x="11766677" y="273766"/>
                </a:cubicBezTo>
                <a:lnTo>
                  <a:pt x="11779170" y="273766"/>
                </a:lnTo>
                <a:cubicBezTo>
                  <a:pt x="11780614" y="273721"/>
                  <a:pt x="11781974" y="273077"/>
                  <a:pt x="11782921" y="271987"/>
                </a:cubicBezTo>
                <a:lnTo>
                  <a:pt x="11787866" y="262379"/>
                </a:lnTo>
                <a:lnTo>
                  <a:pt x="11824150" y="262379"/>
                </a:lnTo>
                <a:lnTo>
                  <a:pt x="11829290" y="271987"/>
                </a:lnTo>
                <a:cubicBezTo>
                  <a:pt x="11830153" y="273172"/>
                  <a:pt x="11831556" y="273841"/>
                  <a:pt x="11833020" y="273766"/>
                </a:cubicBezTo>
                <a:lnTo>
                  <a:pt x="11845534" y="273766"/>
                </a:lnTo>
                <a:cubicBezTo>
                  <a:pt x="11846915" y="273895"/>
                  <a:pt x="11848262" y="273295"/>
                  <a:pt x="11849091" y="272182"/>
                </a:cubicBezTo>
                <a:cubicBezTo>
                  <a:pt x="11849407" y="271663"/>
                  <a:pt x="11849407" y="271010"/>
                  <a:pt x="11849091" y="270491"/>
                </a:cubicBezTo>
                <a:lnTo>
                  <a:pt x="11816559" y="207206"/>
                </a:lnTo>
                <a:cubicBezTo>
                  <a:pt x="11816472" y="206924"/>
                  <a:pt x="11815627" y="205536"/>
                  <a:pt x="11812829" y="205536"/>
                </a:cubicBezTo>
                <a:close/>
                <a:moveTo>
                  <a:pt x="11417657" y="205493"/>
                </a:moveTo>
                <a:cubicBezTo>
                  <a:pt x="11415792" y="205493"/>
                  <a:pt x="11413927" y="207011"/>
                  <a:pt x="11413927" y="207662"/>
                </a:cubicBezTo>
                <a:lnTo>
                  <a:pt x="11413927" y="271228"/>
                </a:lnTo>
                <a:cubicBezTo>
                  <a:pt x="11414530" y="272734"/>
                  <a:pt x="11416039" y="273674"/>
                  <a:pt x="11417657" y="273549"/>
                </a:cubicBezTo>
                <a:lnTo>
                  <a:pt x="11429130" y="273549"/>
                </a:lnTo>
                <a:cubicBezTo>
                  <a:pt x="11430752" y="273677"/>
                  <a:pt x="11432273" y="272738"/>
                  <a:pt x="11432882" y="271228"/>
                </a:cubicBezTo>
                <a:lnTo>
                  <a:pt x="11432882" y="248912"/>
                </a:lnTo>
                <a:lnTo>
                  <a:pt x="11450796" y="248912"/>
                </a:lnTo>
                <a:lnTo>
                  <a:pt x="11473004" y="272551"/>
                </a:lnTo>
                <a:cubicBezTo>
                  <a:pt x="11473865" y="273349"/>
                  <a:pt x="11475021" y="273750"/>
                  <a:pt x="11476192" y="273657"/>
                </a:cubicBezTo>
                <a:lnTo>
                  <a:pt x="11490940" y="273657"/>
                </a:lnTo>
                <a:cubicBezTo>
                  <a:pt x="11492979" y="273657"/>
                  <a:pt x="11494584" y="272139"/>
                  <a:pt x="11494584" y="271489"/>
                </a:cubicBezTo>
                <a:cubicBezTo>
                  <a:pt x="11494527" y="271077"/>
                  <a:pt x="11494362" y="270688"/>
                  <a:pt x="11494106" y="270361"/>
                </a:cubicBezTo>
                <a:cubicBezTo>
                  <a:pt x="11493911" y="270079"/>
                  <a:pt x="11493825" y="270057"/>
                  <a:pt x="11493261" y="269428"/>
                </a:cubicBezTo>
                <a:cubicBezTo>
                  <a:pt x="11492697" y="268799"/>
                  <a:pt x="11491873" y="267845"/>
                  <a:pt x="11490745" y="266631"/>
                </a:cubicBezTo>
                <a:lnTo>
                  <a:pt x="11483002" y="258606"/>
                </a:lnTo>
                <a:cubicBezTo>
                  <a:pt x="11480205" y="255700"/>
                  <a:pt x="11477429" y="252642"/>
                  <a:pt x="11475260" y="250473"/>
                </a:cubicBezTo>
                <a:cubicBezTo>
                  <a:pt x="11474663" y="249881"/>
                  <a:pt x="11474100" y="249259"/>
                  <a:pt x="11473568" y="248608"/>
                </a:cubicBezTo>
                <a:cubicBezTo>
                  <a:pt x="11484130" y="247025"/>
                  <a:pt x="11492805" y="238914"/>
                  <a:pt x="11492805" y="228070"/>
                </a:cubicBezTo>
                <a:cubicBezTo>
                  <a:pt x="11492805" y="215014"/>
                  <a:pt x="11481419" y="205493"/>
                  <a:pt x="11468819" y="205493"/>
                </a:cubicBezTo>
                <a:close/>
                <a:moveTo>
                  <a:pt x="11918968" y="205472"/>
                </a:moveTo>
                <a:cubicBezTo>
                  <a:pt x="11917608" y="205371"/>
                  <a:pt x="11916272" y="205879"/>
                  <a:pt x="11915324" y="206860"/>
                </a:cubicBezTo>
                <a:cubicBezTo>
                  <a:pt x="11915062" y="207216"/>
                  <a:pt x="11914899" y="207635"/>
                  <a:pt x="11914847" y="208074"/>
                </a:cubicBezTo>
                <a:lnTo>
                  <a:pt x="11914847" y="246071"/>
                </a:lnTo>
                <a:lnTo>
                  <a:pt x="11873207" y="206664"/>
                </a:lnTo>
                <a:cubicBezTo>
                  <a:pt x="11872326" y="205783"/>
                  <a:pt x="11871077" y="205373"/>
                  <a:pt x="11869845" y="205558"/>
                </a:cubicBezTo>
                <a:lnTo>
                  <a:pt x="11860693" y="205558"/>
                </a:lnTo>
                <a:cubicBezTo>
                  <a:pt x="11859335" y="205475"/>
                  <a:pt x="11858008" y="205981"/>
                  <a:pt x="11857049" y="206946"/>
                </a:cubicBezTo>
                <a:cubicBezTo>
                  <a:pt x="11856778" y="207295"/>
                  <a:pt x="11856618" y="207719"/>
                  <a:pt x="11856594" y="208161"/>
                </a:cubicBezTo>
                <a:lnTo>
                  <a:pt x="11856594" y="271055"/>
                </a:lnTo>
                <a:cubicBezTo>
                  <a:pt x="11856618" y="271497"/>
                  <a:pt x="11856778" y="271921"/>
                  <a:pt x="11857049" y="272270"/>
                </a:cubicBezTo>
                <a:cubicBezTo>
                  <a:pt x="11858002" y="273245"/>
                  <a:pt x="11859333" y="273752"/>
                  <a:pt x="11860693" y="273658"/>
                </a:cubicBezTo>
                <a:lnTo>
                  <a:pt x="11871342" y="273658"/>
                </a:lnTo>
                <a:cubicBezTo>
                  <a:pt x="11872838" y="273658"/>
                  <a:pt x="11875549" y="273007"/>
                  <a:pt x="11875549" y="271055"/>
                </a:cubicBezTo>
                <a:lnTo>
                  <a:pt x="11875549" y="232668"/>
                </a:lnTo>
                <a:lnTo>
                  <a:pt x="11917602" y="272552"/>
                </a:lnTo>
                <a:cubicBezTo>
                  <a:pt x="11918534" y="273406"/>
                  <a:pt x="11919794" y="273810"/>
                  <a:pt x="11921050" y="273658"/>
                </a:cubicBezTo>
                <a:lnTo>
                  <a:pt x="11929725" y="273658"/>
                </a:lnTo>
                <a:cubicBezTo>
                  <a:pt x="11931133" y="273783"/>
                  <a:pt x="11932514" y="273237"/>
                  <a:pt x="11933455" y="272183"/>
                </a:cubicBezTo>
                <a:cubicBezTo>
                  <a:pt x="11933761" y="271854"/>
                  <a:pt x="11933924" y="271417"/>
                  <a:pt x="11933911" y="270968"/>
                </a:cubicBezTo>
                <a:lnTo>
                  <a:pt x="11933911" y="208074"/>
                </a:lnTo>
                <a:cubicBezTo>
                  <a:pt x="11933911" y="207624"/>
                  <a:pt x="11933742" y="207189"/>
                  <a:pt x="11933434" y="206860"/>
                </a:cubicBezTo>
                <a:cubicBezTo>
                  <a:pt x="11932512" y="205853"/>
                  <a:pt x="11931169" y="205339"/>
                  <a:pt x="11929812" y="205472"/>
                </a:cubicBezTo>
                <a:close/>
                <a:moveTo>
                  <a:pt x="11289959" y="205472"/>
                </a:moveTo>
                <a:cubicBezTo>
                  <a:pt x="11288600" y="205371"/>
                  <a:pt x="11287264" y="205879"/>
                  <a:pt x="11286316" y="206860"/>
                </a:cubicBezTo>
                <a:cubicBezTo>
                  <a:pt x="11286056" y="207216"/>
                  <a:pt x="11285891" y="207635"/>
                  <a:pt x="11285839" y="208074"/>
                </a:cubicBezTo>
                <a:lnTo>
                  <a:pt x="11285947" y="246071"/>
                </a:lnTo>
                <a:lnTo>
                  <a:pt x="11244307" y="206664"/>
                </a:lnTo>
                <a:cubicBezTo>
                  <a:pt x="11243428" y="205780"/>
                  <a:pt x="11242177" y="205369"/>
                  <a:pt x="11240945" y="205558"/>
                </a:cubicBezTo>
                <a:lnTo>
                  <a:pt x="11231793" y="205558"/>
                </a:lnTo>
                <a:cubicBezTo>
                  <a:pt x="11230435" y="205475"/>
                  <a:pt x="11229108" y="205981"/>
                  <a:pt x="11228149" y="206946"/>
                </a:cubicBezTo>
                <a:cubicBezTo>
                  <a:pt x="11227876" y="207295"/>
                  <a:pt x="11227718" y="207719"/>
                  <a:pt x="11227694" y="208161"/>
                </a:cubicBezTo>
                <a:lnTo>
                  <a:pt x="11227694" y="271055"/>
                </a:lnTo>
                <a:cubicBezTo>
                  <a:pt x="11227718" y="271497"/>
                  <a:pt x="11227878" y="271921"/>
                  <a:pt x="11228149" y="272270"/>
                </a:cubicBezTo>
                <a:cubicBezTo>
                  <a:pt x="11229102" y="273245"/>
                  <a:pt x="11230433" y="273752"/>
                  <a:pt x="11231793" y="273658"/>
                </a:cubicBezTo>
                <a:lnTo>
                  <a:pt x="11242442" y="273658"/>
                </a:lnTo>
                <a:cubicBezTo>
                  <a:pt x="11243938" y="273658"/>
                  <a:pt x="11246649" y="273007"/>
                  <a:pt x="11246649" y="271055"/>
                </a:cubicBezTo>
                <a:lnTo>
                  <a:pt x="11246649" y="232668"/>
                </a:lnTo>
                <a:lnTo>
                  <a:pt x="11288485" y="272552"/>
                </a:lnTo>
                <a:cubicBezTo>
                  <a:pt x="11289417" y="273406"/>
                  <a:pt x="11290677" y="273810"/>
                  <a:pt x="11291933" y="273658"/>
                </a:cubicBezTo>
                <a:lnTo>
                  <a:pt x="11300608" y="273658"/>
                </a:lnTo>
                <a:cubicBezTo>
                  <a:pt x="11302018" y="273805"/>
                  <a:pt x="11303410" y="273255"/>
                  <a:pt x="11304338" y="272183"/>
                </a:cubicBezTo>
                <a:cubicBezTo>
                  <a:pt x="11304644" y="271854"/>
                  <a:pt x="11304807" y="271417"/>
                  <a:pt x="11304794" y="270969"/>
                </a:cubicBezTo>
                <a:lnTo>
                  <a:pt x="11304794" y="208074"/>
                </a:lnTo>
                <a:cubicBezTo>
                  <a:pt x="11304794" y="207628"/>
                  <a:pt x="11304633" y="207196"/>
                  <a:pt x="11304338" y="206860"/>
                </a:cubicBezTo>
                <a:cubicBezTo>
                  <a:pt x="11303412" y="205846"/>
                  <a:pt x="11302061" y="205332"/>
                  <a:pt x="11300695" y="205472"/>
                </a:cubicBezTo>
                <a:close/>
                <a:moveTo>
                  <a:pt x="11950523" y="205428"/>
                </a:moveTo>
                <a:cubicBezTo>
                  <a:pt x="11948550" y="205428"/>
                  <a:pt x="11945752" y="206361"/>
                  <a:pt x="11945752" y="208681"/>
                </a:cubicBezTo>
                <a:lnTo>
                  <a:pt x="11945752" y="270383"/>
                </a:lnTo>
                <a:cubicBezTo>
                  <a:pt x="11945752" y="272725"/>
                  <a:pt x="11948550" y="273657"/>
                  <a:pt x="11950523" y="273657"/>
                </a:cubicBezTo>
                <a:lnTo>
                  <a:pt x="11984031" y="273657"/>
                </a:lnTo>
                <a:cubicBezTo>
                  <a:pt x="12019599" y="273657"/>
                  <a:pt x="12027992" y="253770"/>
                  <a:pt x="12027992" y="239586"/>
                </a:cubicBezTo>
                <a:cubicBezTo>
                  <a:pt x="12027992" y="215209"/>
                  <a:pt x="12006065" y="205428"/>
                  <a:pt x="11984031" y="205428"/>
                </a:cubicBezTo>
                <a:close/>
                <a:moveTo>
                  <a:pt x="11690532" y="205428"/>
                </a:moveTo>
                <a:cubicBezTo>
                  <a:pt x="11689187" y="205261"/>
                  <a:pt x="11687851" y="205783"/>
                  <a:pt x="11686975" y="206816"/>
                </a:cubicBezTo>
                <a:cubicBezTo>
                  <a:pt x="11686693" y="207127"/>
                  <a:pt x="11686526" y="207525"/>
                  <a:pt x="11686498" y="207944"/>
                </a:cubicBezTo>
                <a:lnTo>
                  <a:pt x="11686498" y="271033"/>
                </a:lnTo>
                <a:cubicBezTo>
                  <a:pt x="11686509" y="271456"/>
                  <a:pt x="11686678" y="271859"/>
                  <a:pt x="11686975" y="272161"/>
                </a:cubicBezTo>
                <a:cubicBezTo>
                  <a:pt x="11687851" y="273194"/>
                  <a:pt x="11689187" y="273716"/>
                  <a:pt x="11690532" y="273549"/>
                </a:cubicBezTo>
                <a:lnTo>
                  <a:pt x="11750910" y="273549"/>
                </a:lnTo>
                <a:cubicBezTo>
                  <a:pt x="11752602" y="273549"/>
                  <a:pt x="11754554" y="272529"/>
                  <a:pt x="11754554" y="271792"/>
                </a:cubicBezTo>
                <a:lnTo>
                  <a:pt x="11758284" y="260493"/>
                </a:lnTo>
                <a:lnTo>
                  <a:pt x="11758284" y="260211"/>
                </a:lnTo>
                <a:cubicBezTo>
                  <a:pt x="11758284" y="259365"/>
                  <a:pt x="11756614" y="257782"/>
                  <a:pt x="11754554" y="257782"/>
                </a:cubicBezTo>
                <a:lnTo>
                  <a:pt x="11705453" y="257782"/>
                </a:lnTo>
                <a:lnTo>
                  <a:pt x="11705388" y="207944"/>
                </a:lnTo>
                <a:cubicBezTo>
                  <a:pt x="11705371" y="207526"/>
                  <a:pt x="11705210" y="207128"/>
                  <a:pt x="11704933" y="206816"/>
                </a:cubicBezTo>
                <a:cubicBezTo>
                  <a:pt x="11704056" y="205783"/>
                  <a:pt x="11702720" y="205261"/>
                  <a:pt x="11701376" y="205428"/>
                </a:cubicBezTo>
                <a:close/>
                <a:moveTo>
                  <a:pt x="11601308" y="205428"/>
                </a:moveTo>
                <a:cubicBezTo>
                  <a:pt x="11599970" y="205260"/>
                  <a:pt x="11598638" y="205783"/>
                  <a:pt x="11597773" y="206816"/>
                </a:cubicBezTo>
                <a:cubicBezTo>
                  <a:pt x="11597485" y="207122"/>
                  <a:pt x="11597316" y="207523"/>
                  <a:pt x="11597296" y="207944"/>
                </a:cubicBezTo>
                <a:lnTo>
                  <a:pt x="11597296" y="271033"/>
                </a:lnTo>
                <a:cubicBezTo>
                  <a:pt x="11597300" y="271438"/>
                  <a:pt x="11597428" y="271832"/>
                  <a:pt x="11597665" y="272161"/>
                </a:cubicBezTo>
                <a:cubicBezTo>
                  <a:pt x="11598556" y="273232"/>
                  <a:pt x="11599920" y="273793"/>
                  <a:pt x="11601308" y="273657"/>
                </a:cubicBezTo>
                <a:lnTo>
                  <a:pt x="11612152" y="273657"/>
                </a:lnTo>
                <a:cubicBezTo>
                  <a:pt x="11613514" y="273740"/>
                  <a:pt x="11614844" y="273226"/>
                  <a:pt x="11615796" y="272248"/>
                </a:cubicBezTo>
                <a:cubicBezTo>
                  <a:pt x="11616108" y="271922"/>
                  <a:pt x="11616279" y="271485"/>
                  <a:pt x="11616273" y="271033"/>
                </a:cubicBezTo>
                <a:lnTo>
                  <a:pt x="11616273" y="247415"/>
                </a:lnTo>
                <a:lnTo>
                  <a:pt x="11655744" y="247415"/>
                </a:lnTo>
                <a:lnTo>
                  <a:pt x="11655744" y="271055"/>
                </a:lnTo>
                <a:cubicBezTo>
                  <a:pt x="11655749" y="271460"/>
                  <a:pt x="11655877" y="271853"/>
                  <a:pt x="11656113" y="272183"/>
                </a:cubicBezTo>
                <a:cubicBezTo>
                  <a:pt x="11657004" y="273254"/>
                  <a:pt x="11658369" y="273815"/>
                  <a:pt x="11659757" y="273679"/>
                </a:cubicBezTo>
                <a:lnTo>
                  <a:pt x="11670600" y="273679"/>
                </a:lnTo>
                <a:cubicBezTo>
                  <a:pt x="11671988" y="273818"/>
                  <a:pt x="11673355" y="273257"/>
                  <a:pt x="11674244" y="272183"/>
                </a:cubicBezTo>
                <a:cubicBezTo>
                  <a:pt x="11674480" y="271853"/>
                  <a:pt x="11674608" y="271460"/>
                  <a:pt x="11674613" y="271055"/>
                </a:cubicBezTo>
                <a:lnTo>
                  <a:pt x="11674613" y="207944"/>
                </a:lnTo>
                <a:cubicBezTo>
                  <a:pt x="11674595" y="207527"/>
                  <a:pt x="11674435" y="207129"/>
                  <a:pt x="11674157" y="206816"/>
                </a:cubicBezTo>
                <a:cubicBezTo>
                  <a:pt x="11673281" y="205783"/>
                  <a:pt x="11671945" y="205261"/>
                  <a:pt x="11670600" y="205428"/>
                </a:cubicBezTo>
                <a:lnTo>
                  <a:pt x="11659757" y="205428"/>
                </a:lnTo>
                <a:cubicBezTo>
                  <a:pt x="11657414" y="205428"/>
                  <a:pt x="11656395" y="206447"/>
                  <a:pt x="11656221" y="206816"/>
                </a:cubicBezTo>
                <a:cubicBezTo>
                  <a:pt x="11655933" y="207122"/>
                  <a:pt x="11655764" y="207523"/>
                  <a:pt x="11655744" y="207944"/>
                </a:cubicBezTo>
                <a:lnTo>
                  <a:pt x="11655744" y="231648"/>
                </a:lnTo>
                <a:lnTo>
                  <a:pt x="11616273" y="231648"/>
                </a:lnTo>
                <a:lnTo>
                  <a:pt x="11616273" y="207944"/>
                </a:lnTo>
                <a:cubicBezTo>
                  <a:pt x="11616275" y="207493"/>
                  <a:pt x="11616106" y="207058"/>
                  <a:pt x="11615796" y="206729"/>
                </a:cubicBezTo>
                <a:cubicBezTo>
                  <a:pt x="11614811" y="205814"/>
                  <a:pt x="11613495" y="205344"/>
                  <a:pt x="11612152" y="205428"/>
                </a:cubicBezTo>
                <a:close/>
                <a:moveTo>
                  <a:pt x="11508984" y="205427"/>
                </a:moveTo>
                <a:cubicBezTo>
                  <a:pt x="11507011" y="205427"/>
                  <a:pt x="11505709" y="206360"/>
                  <a:pt x="11505709" y="207011"/>
                </a:cubicBezTo>
                <a:lnTo>
                  <a:pt x="11501979" y="217356"/>
                </a:lnTo>
                <a:cubicBezTo>
                  <a:pt x="11501892" y="217616"/>
                  <a:pt x="11501502" y="219785"/>
                  <a:pt x="11505341" y="219785"/>
                </a:cubicBezTo>
                <a:lnTo>
                  <a:pt x="11534272" y="219785"/>
                </a:lnTo>
                <a:lnTo>
                  <a:pt x="11534272" y="271315"/>
                </a:lnTo>
                <a:cubicBezTo>
                  <a:pt x="11534970" y="272676"/>
                  <a:pt x="11536387" y="273519"/>
                  <a:pt x="11537916" y="273483"/>
                </a:cubicBezTo>
                <a:lnTo>
                  <a:pt x="11549497" y="273483"/>
                </a:lnTo>
                <a:cubicBezTo>
                  <a:pt x="11551362" y="273483"/>
                  <a:pt x="11553140" y="271965"/>
                  <a:pt x="11553140" y="271315"/>
                </a:cubicBezTo>
                <a:lnTo>
                  <a:pt x="11553140" y="219785"/>
                </a:lnTo>
                <a:lnTo>
                  <a:pt x="11582072" y="219785"/>
                </a:lnTo>
                <a:cubicBezTo>
                  <a:pt x="11585889" y="219785"/>
                  <a:pt x="11585433" y="217551"/>
                  <a:pt x="11585433" y="217356"/>
                </a:cubicBezTo>
                <a:lnTo>
                  <a:pt x="11581508" y="207011"/>
                </a:lnTo>
                <a:cubicBezTo>
                  <a:pt x="11580810" y="205899"/>
                  <a:pt x="11579539" y="205285"/>
                  <a:pt x="11578233" y="205427"/>
                </a:cubicBezTo>
                <a:close/>
                <a:moveTo>
                  <a:pt x="11359361" y="203931"/>
                </a:moveTo>
                <a:cubicBezTo>
                  <a:pt x="11352965" y="204016"/>
                  <a:pt x="11346628" y="205152"/>
                  <a:pt x="11340601" y="207293"/>
                </a:cubicBezTo>
                <a:cubicBezTo>
                  <a:pt x="11320713" y="214276"/>
                  <a:pt x="11314749" y="228004"/>
                  <a:pt x="11314749" y="239499"/>
                </a:cubicBezTo>
                <a:cubicBezTo>
                  <a:pt x="11314749" y="261230"/>
                  <a:pt x="11339668" y="275045"/>
                  <a:pt x="11359361" y="275067"/>
                </a:cubicBezTo>
                <a:cubicBezTo>
                  <a:pt x="11382501" y="275067"/>
                  <a:pt x="11395774" y="263876"/>
                  <a:pt x="11400806" y="253704"/>
                </a:cubicBezTo>
                <a:cubicBezTo>
                  <a:pt x="11402957" y="249278"/>
                  <a:pt x="11404078" y="244421"/>
                  <a:pt x="11404081" y="239499"/>
                </a:cubicBezTo>
                <a:cubicBezTo>
                  <a:pt x="11404081" y="216250"/>
                  <a:pt x="11379986" y="203931"/>
                  <a:pt x="11359361" y="203931"/>
                </a:cubicBezTo>
                <a:close/>
                <a:moveTo>
                  <a:pt x="10974606" y="202289"/>
                </a:moveTo>
                <a:cubicBezTo>
                  <a:pt x="10911236" y="204180"/>
                  <a:pt x="10842148" y="240595"/>
                  <a:pt x="10820270" y="295541"/>
                </a:cubicBezTo>
                <a:cubicBezTo>
                  <a:pt x="10771169" y="418878"/>
                  <a:pt x="10880128" y="474139"/>
                  <a:pt x="10922896" y="485351"/>
                </a:cubicBezTo>
                <a:cubicBezTo>
                  <a:pt x="10960589" y="495262"/>
                  <a:pt x="10991364" y="490882"/>
                  <a:pt x="11036192" y="481014"/>
                </a:cubicBezTo>
                <a:cubicBezTo>
                  <a:pt x="11107371" y="465333"/>
                  <a:pt x="11328586" y="400075"/>
                  <a:pt x="11328586" y="400075"/>
                </a:cubicBezTo>
                <a:cubicBezTo>
                  <a:pt x="11169463" y="427597"/>
                  <a:pt x="10923850" y="518295"/>
                  <a:pt x="10858440" y="382725"/>
                </a:cubicBezTo>
                <a:cubicBezTo>
                  <a:pt x="10824304" y="286670"/>
                  <a:pt x="10949246" y="185649"/>
                  <a:pt x="11034110" y="212498"/>
                </a:cubicBezTo>
                <a:cubicBezTo>
                  <a:pt x="11016218" y="204864"/>
                  <a:pt x="10995730" y="201658"/>
                  <a:pt x="10974606" y="202289"/>
                </a:cubicBezTo>
                <a:close/>
                <a:moveTo>
                  <a:pt x="11011804" y="152090"/>
                </a:moveTo>
                <a:cubicBezTo>
                  <a:pt x="10993793" y="153177"/>
                  <a:pt x="10974892" y="156750"/>
                  <a:pt x="10952478" y="161727"/>
                </a:cubicBezTo>
                <a:cubicBezTo>
                  <a:pt x="10881321" y="177429"/>
                  <a:pt x="10660106" y="242666"/>
                  <a:pt x="10660106" y="242666"/>
                </a:cubicBezTo>
                <a:cubicBezTo>
                  <a:pt x="10819207" y="215144"/>
                  <a:pt x="11064820" y="124555"/>
                  <a:pt x="11130230" y="260016"/>
                </a:cubicBezTo>
                <a:cubicBezTo>
                  <a:pt x="11164367" y="356071"/>
                  <a:pt x="11039446" y="457092"/>
                  <a:pt x="10954560" y="430221"/>
                </a:cubicBezTo>
                <a:cubicBezTo>
                  <a:pt x="11026108" y="460757"/>
                  <a:pt x="11139252" y="420440"/>
                  <a:pt x="11168422" y="347179"/>
                </a:cubicBezTo>
                <a:cubicBezTo>
                  <a:pt x="11217610" y="223841"/>
                  <a:pt x="11108543" y="168581"/>
                  <a:pt x="11065796" y="157368"/>
                </a:cubicBezTo>
                <a:cubicBezTo>
                  <a:pt x="11046938" y="152402"/>
                  <a:pt x="11029816" y="151003"/>
                  <a:pt x="11011804" y="15209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/>
            </a:lvl1pPr>
          </a:lstStyle>
          <a:p>
            <a:endParaRPr lang="en-CA" noProof="0"/>
          </a:p>
        </p:txBody>
      </p:sp>
      <p:sp>
        <p:nvSpPr>
          <p:cNvPr id="29" name="Text Placeholder">
            <a:extLst>
              <a:ext uri="{FF2B5EF4-FFF2-40B4-BE49-F238E27FC236}">
                <a16:creationId xmlns:a16="http://schemas.microsoft.com/office/drawing/2014/main" id="{E1169991-F108-4DA4-8345-C08F14656A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" y="712788"/>
            <a:ext cx="5436704" cy="5432424"/>
          </a:xfrm>
          <a:solidFill>
            <a:schemeClr val="accent1"/>
          </a:solidFill>
        </p:spPr>
        <p:txBody>
          <a:bodyPr lIns="182880" tIns="182880" rIns="182880" bIns="18288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/>
              <a:t>[Add text and recolor / resize / reposition textbox as needed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pic>
        <p:nvPicPr>
          <p:cNvPr id="13" name="Logo">
            <a:extLst>
              <a:ext uri="{FF2B5EF4-FFF2-40B4-BE49-F238E27FC236}">
                <a16:creationId xmlns:a16="http://schemas.microsoft.com/office/drawing/2014/main" id="{A8CE78AB-4452-4E1B-BD29-9CEB23CBF3F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CD051455-68AB-404A-A64D-B75431A9C868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marL="0" indent="0" algn="l">
              <a:lnSpc>
                <a:spcPct val="90000"/>
              </a:lnSpc>
              <a:spcBef>
                <a:spcPts val="600"/>
              </a:spcBef>
              <a:buNone/>
            </a:pPr>
            <a:r>
              <a:rPr lang="en-US" sz="1400" b="1" dirty="0"/>
              <a:t>Do not resize the </a:t>
            </a:r>
            <a:br>
              <a:rPr lang="en-US" sz="1400" b="1" dirty="0"/>
            </a:br>
            <a:r>
              <a:rPr lang="en-US" sz="1400" b="1" dirty="0"/>
              <a:t>image placeholder! 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F7C9883-F835-4F7D-BC98-9286913024DA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F1D0C00-B139-4696-8DCD-872F36C3C5DA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D0EECC4-9B4E-47E4-A216-35ACE8CF582C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939696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~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F3F4D49-2E73-4859-B1BB-B05C9843986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3800" b="1" noProof="0"/>
              <a:t>Titles, Agendas, Contact, End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77A9AC1-80D7-4F74-AC77-2E2A6E23078F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71300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03C9935-C3DC-441C-B3C8-A836429D7795}"/>
              </a:ext>
            </a:extLst>
          </p:cNvPr>
          <p:cNvSpPr/>
          <p:nvPr userDrawn="1"/>
        </p:nvSpPr>
        <p:spPr>
          <a:xfrm>
            <a:off x="0" y="0"/>
            <a:ext cx="6094413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59A1F8E-25E8-4515-B30C-8A873F45ED1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E1432-5DC3-494A-9954-5DA8A0ACAF87}" type="datetime4">
              <a:rPr lang="en-US"/>
              <a:t>October 13, 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D25D987-C52C-4378-95EB-6022654720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2DE8AA6-E710-496B-AA67-325EBAF41E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5AF49E8-F401-4D91-92D2-321B8D2033F4}" type="slidenum">
              <a:rPr lang="en-US"/>
              <a:pPr/>
              <a:t>‹#›</a:t>
            </a:fld>
            <a:endParaRPr lang="en-US" dirty="0"/>
          </a:p>
        </p:txBody>
      </p:sp>
      <p:sp>
        <p:nvSpPr>
          <p:cNvPr id="10" name="Content Placeholder Left">
            <a:extLst>
              <a:ext uri="{FF2B5EF4-FFF2-40B4-BE49-F238E27FC236}">
                <a16:creationId xmlns:a16="http://schemas.microsoft.com/office/drawing/2014/main" id="{40FDA70F-60E6-446E-A411-7FCD939DF4E0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94063" y="1371600"/>
            <a:ext cx="5318862" cy="512066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CA" noProof="0" dirty="0"/>
              <a:t>[Click to add text] 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9" name="Content Placeholder Right">
            <a:extLst>
              <a:ext uri="{FF2B5EF4-FFF2-40B4-BE49-F238E27FC236}">
                <a16:creationId xmlns:a16="http://schemas.microsoft.com/office/drawing/2014/main" id="{2CBB9475-5590-4017-9733-66474AE7520D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457556" y="1371599"/>
            <a:ext cx="5236903" cy="512066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 dirty="0"/>
              <a:t>[Click to add text]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AA05397F-CE0C-42B6-AFE8-7DD0D1B697AC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94064" y="365740"/>
            <a:ext cx="5318862" cy="818822"/>
          </a:xfrm>
        </p:spPr>
        <p:txBody>
          <a:bodyPr/>
          <a:lstStyle/>
          <a:p>
            <a:r>
              <a:rPr lang="en-CA" noProof="0" dirty="0"/>
              <a:t>[Title]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EF35ADAD-373F-41F8-A64B-286BDF8F6A5F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FCB3DD13-BAB9-478C-B0D0-4CC0274AA324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AD1F3AD7-466C-4935-8A7E-BB14484C663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79808C33-AB40-46B8-AEE5-6111A587E26C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9" name="Logo">
            <a:extLst>
              <a:ext uri="{FF2B5EF4-FFF2-40B4-BE49-F238E27FC236}">
                <a16:creationId xmlns:a16="http://schemas.microsoft.com/office/drawing/2014/main" id="{8DE6481D-F6D7-4319-96DD-8D53A77D2D8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20" name="LogoProtection" hidden="1">
            <a:extLst>
              <a:ext uri="{FF2B5EF4-FFF2-40B4-BE49-F238E27FC236}">
                <a16:creationId xmlns:a16="http://schemas.microsoft.com/office/drawing/2014/main" id="{5EBA850F-9B33-4765-808E-277945F2531C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58952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53B72A4-1737-44D7-9EE1-3B796192C8BB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FEF800-C556-4863-A565-66F0AC12C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467" y="1931158"/>
            <a:ext cx="10360960" cy="2631317"/>
          </a:xfrm>
        </p:spPr>
        <p:txBody>
          <a:bodyPr anchor="b"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Title]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49B9D6ED-2BFA-4502-AE7D-2D327C02AD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4467" y="4750904"/>
            <a:ext cx="10360960" cy="1338746"/>
          </a:xfrm>
        </p:spPr>
        <p:txBody>
          <a:bodyPr anchor="t">
            <a:noAutofit/>
          </a:bodyPr>
          <a:lstStyle>
            <a:lvl1pPr marL="0" indent="0">
              <a:buNone/>
              <a:defRPr sz="24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/>
              <a:t>[Add subtitle – or remove if not needed]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04B5F26-8399-4DBC-A75E-C8B257FE80A8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51610C8-487F-416D-992C-8E753CC7EF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B40D1C-896D-4165-BA4F-6F8F380A6CBA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LogoProtection" hidden="1">
            <a:extLst>
              <a:ext uri="{FF2B5EF4-FFF2-40B4-BE49-F238E27FC236}">
                <a16:creationId xmlns:a16="http://schemas.microsoft.com/office/drawing/2014/main" id="{163D910D-3221-4212-8F6E-C4D7D757DA5D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84960" y="203200"/>
            <a:ext cx="4898240" cy="14359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211341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53B72A4-1737-44D7-9EE1-3B796192C8BB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FEF800-C556-4863-A565-66F0AC12C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04468" y="1931158"/>
            <a:ext cx="5932304" cy="2631317"/>
          </a:xfrm>
        </p:spPr>
        <p:txBody>
          <a:bodyPr anchor="b"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Title]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49B9D6ED-2BFA-4502-AE7D-2D327C02AD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4468" y="4750904"/>
            <a:ext cx="5932304" cy="1338746"/>
          </a:xfrm>
        </p:spPr>
        <p:txBody>
          <a:bodyPr anchor="t">
            <a:noAutofit/>
          </a:bodyPr>
          <a:lstStyle>
            <a:lvl1pPr marL="0" indent="0">
              <a:buNone/>
              <a:defRPr sz="24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/>
              <a:t>[Add subtitle – or remove if not needed]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04B5F26-8399-4DBC-A75E-C8B257FE80A8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51610C8-487F-416D-992C-8E753CC7EF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B40D1C-896D-4165-BA4F-6F8F380A6CBA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7" name="Picture placeholder">
            <a:extLst>
              <a:ext uri="{FF2B5EF4-FFF2-40B4-BE49-F238E27FC236}">
                <a16:creationId xmlns:a16="http://schemas.microsoft.com/office/drawing/2014/main" id="{CAFE87B3-9DFE-4C7C-AA6E-E56C0F0752E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635704" y="0"/>
            <a:ext cx="5556297" cy="6858000"/>
          </a:xfrm>
          <a:custGeom>
            <a:avLst/>
            <a:gdLst>
              <a:gd name="connsiteX0" fmla="*/ 1352722 w 5556297"/>
              <a:gd name="connsiteY0" fmla="*/ 0 h 6858000"/>
              <a:gd name="connsiteX1" fmla="*/ 5556297 w 5556297"/>
              <a:gd name="connsiteY1" fmla="*/ 0 h 6858000"/>
              <a:gd name="connsiteX2" fmla="*/ 5556297 w 5556297"/>
              <a:gd name="connsiteY2" fmla="*/ 6858000 h 6858000"/>
              <a:gd name="connsiteX3" fmla="*/ 2032527 w 5556297"/>
              <a:gd name="connsiteY3" fmla="*/ 6858000 h 6858000"/>
              <a:gd name="connsiteX4" fmla="*/ 1886065 w 5556297"/>
              <a:gd name="connsiteY4" fmla="*/ 6757182 h 6858000"/>
              <a:gd name="connsiteX5" fmla="*/ 415028 w 5556297"/>
              <a:gd name="connsiteY5" fmla="*/ 1372896 h 6858000"/>
              <a:gd name="connsiteX6" fmla="*/ 1228821 w 5556297"/>
              <a:gd name="connsiteY6" fmla="*/ 12439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56297" h="6858000">
                <a:moveTo>
                  <a:pt x="1352722" y="0"/>
                </a:moveTo>
                <a:lnTo>
                  <a:pt x="5556297" y="0"/>
                </a:lnTo>
                <a:lnTo>
                  <a:pt x="5556297" y="6858000"/>
                </a:lnTo>
                <a:lnTo>
                  <a:pt x="2032527" y="6858000"/>
                </a:lnTo>
                <a:lnTo>
                  <a:pt x="1886065" y="6757182"/>
                </a:lnTo>
                <a:cubicBezTo>
                  <a:pt x="535790" y="5788130"/>
                  <a:pt x="-658202" y="4068768"/>
                  <a:pt x="415028" y="1372896"/>
                </a:cubicBezTo>
                <a:cubicBezTo>
                  <a:pt x="597196" y="915378"/>
                  <a:pt x="877642" y="496436"/>
                  <a:pt x="1228821" y="124392"/>
                </a:cubicBezTo>
                <a:close/>
              </a:path>
            </a:pathLst>
          </a:custGeom>
          <a:solidFill>
            <a:schemeClr val="tx2"/>
          </a:solidFill>
          <a:effectLst>
            <a:outerShdw blurRad="317500" dist="63500" dir="10800000" algn="r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CA" noProof="0"/>
          </a:p>
        </p:txBody>
      </p:sp>
      <p:sp>
        <p:nvSpPr>
          <p:cNvPr id="10" name="LogoProtection" hidden="1">
            <a:extLst>
              <a:ext uri="{FF2B5EF4-FFF2-40B4-BE49-F238E27FC236}">
                <a16:creationId xmlns:a16="http://schemas.microsoft.com/office/drawing/2014/main" id="{9C06D0C7-2B45-45A0-B928-ED093AFDF57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84960" y="203200"/>
            <a:ext cx="4898240" cy="14359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128064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E53B72A4-1737-44D7-9EE1-3B796192C8BB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>
                <a:solidFill>
                  <a:schemeClr val="bg1"/>
                </a:solidFill>
              </a:rPr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Choose </a:t>
            </a:r>
            <a:r>
              <a:rPr lang="en-US" sz="1400" b="1" dirty="0">
                <a:solidFill>
                  <a:schemeClr val="bg1"/>
                </a:solidFill>
              </a:rPr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>
                <a:solidFill>
                  <a:schemeClr val="bg1"/>
                </a:solidFill>
              </a:rPr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>
              <a:solidFill>
                <a:schemeClr val="bg1"/>
              </a:solidFill>
            </a:endParaRPr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01FEF800-C556-4863-A565-66F0AC12C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7465" y="1931158"/>
            <a:ext cx="5934456" cy="2631317"/>
          </a:xfrm>
        </p:spPr>
        <p:txBody>
          <a:bodyPr anchor="b">
            <a:noAutofit/>
          </a:bodyPr>
          <a:lstStyle>
            <a:lvl1pPr>
              <a:defRPr sz="4800">
                <a:solidFill>
                  <a:schemeClr val="accent1"/>
                </a:solidFill>
              </a:defRPr>
            </a:lvl1pPr>
          </a:lstStyle>
          <a:p>
            <a:r>
              <a:rPr lang="en-CA" noProof="0" dirty="0"/>
              <a:t>[Title]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49B9D6ED-2BFA-4502-AE7D-2D327C02ADC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7465" y="4750904"/>
            <a:ext cx="5934456" cy="1338746"/>
          </a:xfrm>
        </p:spPr>
        <p:txBody>
          <a:bodyPr anchor="t">
            <a:noAutofit/>
          </a:bodyPr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 dirty="0"/>
              <a:t>[Add subtitle – or remove if not needed]</a:t>
            </a: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704B5F26-8399-4DBC-A75E-C8B257FE80A8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851610C8-487F-416D-992C-8E753CC7EFE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5B40D1C-896D-4165-BA4F-6F8F380A6CBA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10" name="Picture placeholder">
            <a:extLst>
              <a:ext uri="{FF2B5EF4-FFF2-40B4-BE49-F238E27FC236}">
                <a16:creationId xmlns:a16="http://schemas.microsoft.com/office/drawing/2014/main" id="{843EA25A-5C96-49D0-8AC5-8DC4AD1DC3E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635704" y="0"/>
            <a:ext cx="5556297" cy="6858000"/>
          </a:xfrm>
          <a:custGeom>
            <a:avLst/>
            <a:gdLst>
              <a:gd name="connsiteX0" fmla="*/ 1352722 w 5556297"/>
              <a:gd name="connsiteY0" fmla="*/ 0 h 6858000"/>
              <a:gd name="connsiteX1" fmla="*/ 5556297 w 5556297"/>
              <a:gd name="connsiteY1" fmla="*/ 0 h 6858000"/>
              <a:gd name="connsiteX2" fmla="*/ 5556297 w 5556297"/>
              <a:gd name="connsiteY2" fmla="*/ 6858000 h 6858000"/>
              <a:gd name="connsiteX3" fmla="*/ 2032527 w 5556297"/>
              <a:gd name="connsiteY3" fmla="*/ 6858000 h 6858000"/>
              <a:gd name="connsiteX4" fmla="*/ 1886065 w 5556297"/>
              <a:gd name="connsiteY4" fmla="*/ 6757182 h 6858000"/>
              <a:gd name="connsiteX5" fmla="*/ 415028 w 5556297"/>
              <a:gd name="connsiteY5" fmla="*/ 1372896 h 6858000"/>
              <a:gd name="connsiteX6" fmla="*/ 1228821 w 5556297"/>
              <a:gd name="connsiteY6" fmla="*/ 12439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556297" h="6858000">
                <a:moveTo>
                  <a:pt x="1352722" y="0"/>
                </a:moveTo>
                <a:lnTo>
                  <a:pt x="5556297" y="0"/>
                </a:lnTo>
                <a:lnTo>
                  <a:pt x="5556297" y="6858000"/>
                </a:lnTo>
                <a:lnTo>
                  <a:pt x="2032527" y="6858000"/>
                </a:lnTo>
                <a:lnTo>
                  <a:pt x="1886065" y="6757182"/>
                </a:lnTo>
                <a:cubicBezTo>
                  <a:pt x="535790" y="5788130"/>
                  <a:pt x="-658202" y="4068768"/>
                  <a:pt x="415028" y="1372896"/>
                </a:cubicBezTo>
                <a:cubicBezTo>
                  <a:pt x="597196" y="915378"/>
                  <a:pt x="877642" y="496436"/>
                  <a:pt x="1228821" y="124392"/>
                </a:cubicBezTo>
                <a:close/>
              </a:path>
            </a:pathLst>
          </a:custGeom>
          <a:solidFill>
            <a:schemeClr val="bg2"/>
          </a:solidFill>
          <a:effectLst>
            <a:outerShdw blurRad="317500" dist="63500" dir="10800000" algn="r" rotWithShape="0">
              <a:prstClr val="black">
                <a:alpha val="30000"/>
              </a:prstClr>
            </a:outerShdw>
          </a:effectLst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endParaRPr lang="en-CA" noProof="0" dirty="0"/>
          </a:p>
        </p:txBody>
      </p:sp>
      <p:sp>
        <p:nvSpPr>
          <p:cNvPr id="11" name="LogoProtection" hidden="1">
            <a:extLst>
              <a:ext uri="{FF2B5EF4-FFF2-40B4-BE49-F238E27FC236}">
                <a16:creationId xmlns:a16="http://schemas.microsoft.com/office/drawing/2014/main" id="{C01EEFDD-894F-4E8E-827D-3AEBE93AA110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84960" y="203200"/>
            <a:ext cx="4898240" cy="14359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740250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Takeaway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Number  Placeholder 1"/>
          <p:cNvSpPr>
            <a:spLocks noGrp="1"/>
          </p:cNvSpPr>
          <p:nvPr>
            <p:ph type="body" sz="quarter" idx="17" hasCustomPrompt="1"/>
          </p:nvPr>
        </p:nvSpPr>
        <p:spPr>
          <a:xfrm>
            <a:off x="4175889" y="1371804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12" name="Number 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4175889" y="1991177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13" name="Number 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175889" y="2610550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14" name="Number  Placeholder 4"/>
          <p:cNvSpPr>
            <a:spLocks noGrp="1"/>
          </p:cNvSpPr>
          <p:nvPr>
            <p:ph type="body" sz="quarter" idx="20" hasCustomPrompt="1"/>
          </p:nvPr>
        </p:nvSpPr>
        <p:spPr>
          <a:xfrm>
            <a:off x="4175889" y="3229923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20" name="Number 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4175889" y="3849296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22" name="Number  Placeholder 6"/>
          <p:cNvSpPr>
            <a:spLocks noGrp="1"/>
          </p:cNvSpPr>
          <p:nvPr>
            <p:ph type="body" sz="quarter" idx="27" hasCustomPrompt="1"/>
          </p:nvPr>
        </p:nvSpPr>
        <p:spPr>
          <a:xfrm>
            <a:off x="4175889" y="4468669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5B56A67-B067-4B93-A8DF-2F342577540B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4D259E4-61C0-45AA-937A-2C2AFBF70135}" type="datetime4">
              <a:rPr lang="en-CA" noProof="0"/>
              <a:t>October 13, 2023</a:t>
            </a:fld>
            <a:endParaRPr lang="en-CA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86A84-FF5F-44DD-A423-F0E1BFE0A69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CA" noProof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281E35-77E8-4E84-9666-70B547551F8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5AF49E8-F401-4D91-92D2-321B8D2033F4}" type="slidenum">
              <a:rPr lang="en-CA" noProof="0"/>
              <a:pPr/>
              <a:t>‹#›</a:t>
            </a:fld>
            <a:endParaRPr lang="en-CA" noProof="0"/>
          </a:p>
        </p:txBody>
      </p:sp>
      <p:sp>
        <p:nvSpPr>
          <p:cNvPr id="6" name="Text Placeholder 1">
            <a:extLst>
              <a:ext uri="{FF2B5EF4-FFF2-40B4-BE49-F238E27FC236}">
                <a16:creationId xmlns:a16="http://schemas.microsoft.com/office/drawing/2014/main" id="{35EFA9BA-1ED3-47A6-9282-A8511F5EDDE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08177" y="1371601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D48262C-EE37-4BE2-A80E-2EB847400F2A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908177" y="1991003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95174A83-A4DC-4FF0-A413-405D84C21450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08177" y="2610405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8B4B5E91-2B00-46B1-881A-D64D4CD0B0C1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08177" y="3229807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C3F10839-2F6C-4EEF-A772-1593734E92EA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908177" y="3849209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</a:lstStyle>
          <a:p>
            <a:pPr lvl="0"/>
            <a:r>
              <a:rPr lang="en-CA" noProof="0" dirty="0"/>
              <a:t>[Click to add agenda item / takeaway text – max two rows]</a:t>
            </a:r>
          </a:p>
          <a:p>
            <a:pPr lvl="1"/>
            <a:r>
              <a:rPr lang="en-CA" noProof="0" dirty="0"/>
              <a:t>Second level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28127439-EEF8-4276-8956-51881C2DB5D8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908177" y="4468611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3" name="Title">
            <a:extLst>
              <a:ext uri="{FF2B5EF4-FFF2-40B4-BE49-F238E27FC236}">
                <a16:creationId xmlns:a16="http://schemas.microsoft.com/office/drawing/2014/main" id="{23144CDF-66CE-428C-922D-2438FDA5C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" y="0"/>
            <a:ext cx="3930554" cy="6858000"/>
          </a:xfrm>
          <a:solidFill>
            <a:schemeClr val="accent1"/>
          </a:solidFill>
        </p:spPr>
        <p:txBody>
          <a:bodyPr lIns="182880" tIns="91440" rIns="91440" bIns="91440" anchor="ctr">
            <a:noAutofit/>
          </a:bodyPr>
          <a:lstStyle>
            <a:lvl1pPr>
              <a:defRPr sz="3200" b="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CA" noProof="0"/>
              <a:t>[Agenda / Title – change the color of the textbox as needed]</a:t>
            </a:r>
          </a:p>
        </p:txBody>
      </p:sp>
      <p:sp>
        <p:nvSpPr>
          <p:cNvPr id="19" name="Number  Placeholder 7">
            <a:extLst>
              <a:ext uri="{FF2B5EF4-FFF2-40B4-BE49-F238E27FC236}">
                <a16:creationId xmlns:a16="http://schemas.microsoft.com/office/drawing/2014/main" id="{27FC35A3-4974-4FE6-A9AF-C0751F145F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75889" y="5088042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B05905DB-E5EF-4873-B004-A278B411A08D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912006" y="5088013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24" name="Number  Placeholder 8">
            <a:extLst>
              <a:ext uri="{FF2B5EF4-FFF2-40B4-BE49-F238E27FC236}">
                <a16:creationId xmlns:a16="http://schemas.microsoft.com/office/drawing/2014/main" id="{285DEEC8-9745-41AB-9825-D31C63A872A7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75889" y="5707412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77393E36-3C12-4852-9E3D-B643955B4BA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15835" y="5707412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Char char=" "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28" name="LogoProtection" hidden="1">
            <a:extLst>
              <a:ext uri="{FF2B5EF4-FFF2-40B4-BE49-F238E27FC236}">
                <a16:creationId xmlns:a16="http://schemas.microsoft.com/office/drawing/2014/main" id="{4E428B9F-C552-4242-8C10-3490EB01EE7C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01170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Takeawa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65B56A67-B067-4B93-A8DF-2F342577540B}"/>
              </a:ext>
            </a:extLst>
          </p:cNvPr>
          <p:cNvSpPr>
            <a:spLocks noGrp="1"/>
          </p:cNvSpPr>
          <p:nvPr>
            <p:ph type="dt" sz="half" idx="28"/>
          </p:nvPr>
        </p:nvSpPr>
        <p:spPr/>
        <p:txBody>
          <a:bodyPr/>
          <a:lstStyle/>
          <a:p>
            <a:fld id="{24D259E4-61C0-45AA-937A-2C2AFBF70135}" type="datetime4">
              <a:rPr lang="en-CA" noProof="0"/>
              <a:t>October 13, 2023</a:t>
            </a:fld>
            <a:endParaRPr lang="en-CA" noProof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1B86A84-FF5F-44DD-A423-F0E1BFE0A698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endParaRPr lang="en-CA" noProof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64281E35-77E8-4E84-9666-70B547551F87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/>
        <p:txBody>
          <a:bodyPr/>
          <a:lstStyle/>
          <a:p>
            <a:fld id="{75AF49E8-F401-4D91-92D2-321B8D2033F4}" type="slidenum">
              <a:rPr lang="en-CA" noProof="0"/>
              <a:pPr/>
              <a:t>‹#›</a:t>
            </a:fld>
            <a:endParaRPr lang="en-CA" noProof="0"/>
          </a:p>
        </p:txBody>
      </p:sp>
      <p:sp>
        <p:nvSpPr>
          <p:cNvPr id="4" name="Picture Placeholder">
            <a:extLst>
              <a:ext uri="{FF2B5EF4-FFF2-40B4-BE49-F238E27FC236}">
                <a16:creationId xmlns:a16="http://schemas.microsoft.com/office/drawing/2014/main" id="{422B2D69-B8D6-46D5-8F94-C69DB1D4B8D2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0" y="0"/>
            <a:ext cx="3930650" cy="6858000"/>
          </a:xfrm>
          <a:solidFill>
            <a:schemeClr val="bg2"/>
          </a:solidFill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endParaRPr lang="en-CA" noProof="0"/>
          </a:p>
        </p:txBody>
      </p:sp>
      <p:sp>
        <p:nvSpPr>
          <p:cNvPr id="5" name="Title">
            <a:extLst>
              <a:ext uri="{FF2B5EF4-FFF2-40B4-BE49-F238E27FC236}">
                <a16:creationId xmlns:a16="http://schemas.microsoft.com/office/drawing/2014/main" id="{2C5814E2-AC0F-447A-A211-29BB99071B56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1"/>
            </p:custDataLst>
          </p:nvPr>
        </p:nvSpPr>
        <p:spPr>
          <a:xfrm>
            <a:off x="4169391" y="365740"/>
            <a:ext cx="6249227" cy="818822"/>
          </a:xfrm>
        </p:spPr>
        <p:txBody>
          <a:bodyPr/>
          <a:lstStyle/>
          <a:p>
            <a:r>
              <a:rPr lang="en-CA" noProof="0"/>
              <a:t>[Title]</a:t>
            </a:r>
          </a:p>
        </p:txBody>
      </p:sp>
      <p:sp>
        <p:nvSpPr>
          <p:cNvPr id="28" name="Number  Placeholder 1">
            <a:extLst>
              <a:ext uri="{FF2B5EF4-FFF2-40B4-BE49-F238E27FC236}">
                <a16:creationId xmlns:a16="http://schemas.microsoft.com/office/drawing/2014/main" id="{34F7ECFE-6803-414C-B728-3F1F8B9DA17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175889" y="1371804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30" name="Number  Placeholder 2">
            <a:extLst>
              <a:ext uri="{FF2B5EF4-FFF2-40B4-BE49-F238E27FC236}">
                <a16:creationId xmlns:a16="http://schemas.microsoft.com/office/drawing/2014/main" id="{52073550-0F4C-4F1F-9483-B308E4832F9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175889" y="1991177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32" name="Number  Placeholder 3">
            <a:extLst>
              <a:ext uri="{FF2B5EF4-FFF2-40B4-BE49-F238E27FC236}">
                <a16:creationId xmlns:a16="http://schemas.microsoft.com/office/drawing/2014/main" id="{744B24B3-E721-4186-9AEE-E7DABCB9B4E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175889" y="2610550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33" name="Number  Placeholder 4">
            <a:extLst>
              <a:ext uri="{FF2B5EF4-FFF2-40B4-BE49-F238E27FC236}">
                <a16:creationId xmlns:a16="http://schemas.microsoft.com/office/drawing/2014/main" id="{F417BE88-C527-48D0-82AD-A28D5579FE2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175889" y="3229923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34" name="Number  Placeholder 5">
            <a:extLst>
              <a:ext uri="{FF2B5EF4-FFF2-40B4-BE49-F238E27FC236}">
                <a16:creationId xmlns:a16="http://schemas.microsoft.com/office/drawing/2014/main" id="{7422263D-9FA1-4180-B61F-977D5027EAC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175889" y="3849296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35" name="Number  Placeholder 6">
            <a:extLst>
              <a:ext uri="{FF2B5EF4-FFF2-40B4-BE49-F238E27FC236}">
                <a16:creationId xmlns:a16="http://schemas.microsoft.com/office/drawing/2014/main" id="{866708A2-C63A-4E8F-9FD6-60485E6B5EE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175889" y="4468669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36" name="Text Placeholder 1">
            <a:extLst>
              <a:ext uri="{FF2B5EF4-FFF2-40B4-BE49-F238E27FC236}">
                <a16:creationId xmlns:a16="http://schemas.microsoft.com/office/drawing/2014/main" id="{16AB2EF9-CFEF-4C16-8E0F-C9D8BD965B43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4908177" y="1371601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A8B1C8D0-7CA7-4B2A-9DAB-87716975E85F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4908177" y="1991003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2EEF446E-2E1D-4398-84E4-F7D4164D3D0F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4908177" y="2610405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39" name="Text Placeholder 4">
            <a:extLst>
              <a:ext uri="{FF2B5EF4-FFF2-40B4-BE49-F238E27FC236}">
                <a16:creationId xmlns:a16="http://schemas.microsoft.com/office/drawing/2014/main" id="{63D6CB58-C966-4802-A135-A45DCA30AFB3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4908177" y="3229807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40" name="Text Placeholder 5">
            <a:extLst>
              <a:ext uri="{FF2B5EF4-FFF2-40B4-BE49-F238E27FC236}">
                <a16:creationId xmlns:a16="http://schemas.microsoft.com/office/drawing/2014/main" id="{DBA97468-0F65-484F-AD21-DB993D51CFCF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4908177" y="3849209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  <a:lvl3pPr marL="457200" indent="0">
              <a:buNone/>
              <a:defRPr/>
            </a:lvl3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DD197EB8-F3AA-4719-A9BB-8D3E9C3B6B73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908177" y="4468611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42" name="Number  Placeholder 7">
            <a:extLst>
              <a:ext uri="{FF2B5EF4-FFF2-40B4-BE49-F238E27FC236}">
                <a16:creationId xmlns:a16="http://schemas.microsoft.com/office/drawing/2014/main" id="{9B8C1F6A-831C-4AF6-9A78-ADD191AF5EF7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175889" y="5088042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43" name="Text Placeholder 7">
            <a:extLst>
              <a:ext uri="{FF2B5EF4-FFF2-40B4-BE49-F238E27FC236}">
                <a16:creationId xmlns:a16="http://schemas.microsoft.com/office/drawing/2014/main" id="{80756C23-6BBB-4B4A-A890-73CA275B1BC3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4912006" y="5088013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None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44" name="Number  Placeholder 8">
            <a:extLst>
              <a:ext uri="{FF2B5EF4-FFF2-40B4-BE49-F238E27FC236}">
                <a16:creationId xmlns:a16="http://schemas.microsoft.com/office/drawing/2014/main" id="{758A6747-8DEC-4CF9-BFEB-CBAD9F13FB32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4175889" y="5707412"/>
            <a:ext cx="562662" cy="417462"/>
          </a:xfrm>
        </p:spPr>
        <p:txBody>
          <a:bodyPr tIns="0" rIns="0" bIns="0">
            <a:noAutofit/>
          </a:bodyPr>
          <a:lstStyle>
            <a:lvl1pPr marL="0" indent="0" algn="r">
              <a:buNone/>
              <a:defRPr sz="3600" b="1">
                <a:solidFill>
                  <a:schemeClr val="accent1"/>
                </a:solidFill>
              </a:defRPr>
            </a:lvl1pPr>
            <a:lvl2pPr marL="169862" indent="0">
              <a:buNone/>
              <a:defRPr/>
            </a:lvl2pPr>
          </a:lstStyle>
          <a:p>
            <a:pPr lvl="0"/>
            <a:r>
              <a:rPr lang="en-CA" noProof="0"/>
              <a:t>#</a:t>
            </a:r>
          </a:p>
        </p:txBody>
      </p:sp>
      <p:sp>
        <p:nvSpPr>
          <p:cNvPr id="45" name="Text Placeholder 8">
            <a:extLst>
              <a:ext uri="{FF2B5EF4-FFF2-40B4-BE49-F238E27FC236}">
                <a16:creationId xmlns:a16="http://schemas.microsoft.com/office/drawing/2014/main" id="{6534C37F-C20B-4AFB-99AD-1E2A0A07B8E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915835" y="5707412"/>
            <a:ext cx="5950324" cy="417462"/>
          </a:xfrm>
        </p:spPr>
        <p:txBody>
          <a:bodyPr lIns="0" tIns="0" rIns="0" bIns="0" anchor="ctr">
            <a:noAutofit/>
          </a:bodyPr>
          <a:lstStyle>
            <a:lvl1pPr marL="0" indent="0">
              <a:buFont typeface="Century Gothic" panose="020B0502020202020204" pitchFamily="34" charset="0"/>
              <a:buNone/>
              <a:defRPr sz="1600" b="1">
                <a:solidFill>
                  <a:schemeClr val="tx1"/>
                </a:solidFill>
              </a:defRPr>
            </a:lvl1pPr>
            <a:lvl2pPr marL="0" indent="0">
              <a:buFont typeface="Century Gothic" panose="020B0502020202020204" pitchFamily="34" charset="0"/>
              <a:buChar char=" "/>
              <a:defRPr sz="1400">
                <a:solidFill>
                  <a:schemeClr val="tx1"/>
                </a:solidFill>
              </a:defRPr>
            </a:lvl2pPr>
          </a:lstStyle>
          <a:p>
            <a:pPr lvl="0"/>
            <a:r>
              <a:rPr lang="en-CA" noProof="0"/>
              <a:t>[Click to add agenda item / takeaway text – max two rows]</a:t>
            </a:r>
          </a:p>
          <a:p>
            <a:pPr lvl="1"/>
            <a:r>
              <a:rPr lang="en-CA" noProof="0"/>
              <a:t>Second level</a:t>
            </a:r>
          </a:p>
        </p:txBody>
      </p:sp>
      <p:sp>
        <p:nvSpPr>
          <p:cNvPr id="23" name="LogoProtection" hidden="1">
            <a:extLst>
              <a:ext uri="{FF2B5EF4-FFF2-40B4-BE49-F238E27FC236}">
                <a16:creationId xmlns:a16="http://schemas.microsoft.com/office/drawing/2014/main" id="{497E914C-4E80-45F5-9776-9CA105EA31F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3168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EAF2D49-132B-48CA-9DDD-D0FF40F5D41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7540" y="1371600"/>
            <a:ext cx="10360960" cy="3190875"/>
          </a:xfrm>
        </p:spPr>
        <p:txBody>
          <a:bodyPr anchor="b"/>
          <a:lstStyle>
            <a:lvl1pPr>
              <a:defRPr sz="4800"/>
            </a:lvl1pPr>
          </a:lstStyle>
          <a:p>
            <a:r>
              <a:rPr lang="en-CA" noProof="0"/>
              <a:t>[Add divider slide title]</a:t>
            </a:r>
          </a:p>
        </p:txBody>
      </p:sp>
      <p:sp>
        <p:nvSpPr>
          <p:cNvPr id="3" name="Subtitle">
            <a:extLst>
              <a:ext uri="{FF2B5EF4-FFF2-40B4-BE49-F238E27FC236}">
                <a16:creationId xmlns:a16="http://schemas.microsoft.com/office/drawing/2014/main" id="{F14B0E2F-E569-4398-B332-FF94948800B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7540" y="4750904"/>
            <a:ext cx="10360960" cy="1338746"/>
          </a:xfrm>
        </p:spPr>
        <p:txBody>
          <a:bodyPr/>
          <a:lstStyle>
            <a:lvl1pPr marL="0" indent="0"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CA" noProof="0"/>
              <a:t>[Add optional divider slide subtitle]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C96EF64-5611-47D0-B711-EECDD9EF31D4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LogoProtection" hidden="1">
            <a:extLst>
              <a:ext uri="{FF2B5EF4-FFF2-40B4-BE49-F238E27FC236}">
                <a16:creationId xmlns:a16="http://schemas.microsoft.com/office/drawing/2014/main" id="{EE2EE3F8-2381-4D97-9A34-10BD8E2B493A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07DC0952-A20A-4EE8-B3A8-287E121AA65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589DAEF7-18DB-4431-BD31-4D887E8EB4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C8FC9A15-CB5C-4870-B8E7-EE7427AC0A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35350927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F390CF-E810-4A7F-A8CE-3D0311300E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7540" y="1371600"/>
            <a:ext cx="10360960" cy="3190875"/>
          </a:xfrm>
        </p:spPr>
        <p:txBody>
          <a:bodyPr anchor="b"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Add divider slide title]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5B5D3388-39EB-433E-8398-73E8EB7226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7540" y="4750904"/>
            <a:ext cx="10360960" cy="1338746"/>
          </a:xfrm>
        </p:spPr>
        <p:txBody>
          <a:bodyPr anchor="t">
            <a:noAutofit/>
          </a:bodyPr>
          <a:lstStyle>
            <a:lvl1pPr marL="0" indent="0">
              <a:buNone/>
              <a:defRPr sz="24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/>
              <a:t>[Add optional divider slide subtitle]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7C63E043-5D60-4CF3-8332-80467742F574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7946D84F-6F15-4070-BB71-2FFE80CDFB3D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C2A5D36F-C999-464E-B0A8-2F8143DB75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66FC447-A0F8-4537-A0CC-34DE22456A41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pic>
        <p:nvPicPr>
          <p:cNvPr id="14" name="Graphic 13">
            <a:extLst>
              <a:ext uri="{FF2B5EF4-FFF2-40B4-BE49-F238E27FC236}">
                <a16:creationId xmlns:a16="http://schemas.microsoft.com/office/drawing/2014/main" id="{A6AC42C8-10DB-4D6D-A545-FCAD46AB880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15" name="LogoProtection" hidden="1">
            <a:extLst>
              <a:ext uri="{FF2B5EF4-FFF2-40B4-BE49-F238E27FC236}">
                <a16:creationId xmlns:a16="http://schemas.microsoft.com/office/drawing/2014/main" id="{9FF740D8-ADE1-4B6F-A23A-757D242FC33F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FC29761-8894-4491-817E-434B2C3B613F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C6CC6D0C-A62C-4062-8927-90E9AC93B92B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CA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74F19BEC-BB6B-4630-82D0-02074B58D67D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251383016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Logo">
            <a:extLst>
              <a:ext uri="{FF2B5EF4-FFF2-40B4-BE49-F238E27FC236}">
                <a16:creationId xmlns:a16="http://schemas.microsoft.com/office/drawing/2014/main" id="{579E81F7-5A11-4A24-852B-E409A79393B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0660106" y="151773"/>
            <a:ext cx="1368494" cy="338328"/>
          </a:xfrm>
          <a:prstGeom prst="rect">
            <a:avLst/>
          </a:prstGeom>
        </p:spPr>
      </p:pic>
      <p:sp>
        <p:nvSpPr>
          <p:cNvPr id="2" name="Title">
            <a:extLst>
              <a:ext uri="{FF2B5EF4-FFF2-40B4-BE49-F238E27FC236}">
                <a16:creationId xmlns:a16="http://schemas.microsoft.com/office/drawing/2014/main" id="{66F390CF-E810-4A7F-A8CE-3D0311300E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7541" y="1371600"/>
            <a:ext cx="6797188" cy="3190875"/>
          </a:xfrm>
        </p:spPr>
        <p:txBody>
          <a:bodyPr anchor="b">
            <a:noAutofit/>
          </a:bodyPr>
          <a:lstStyle>
            <a:lvl1pPr>
              <a:defRPr sz="4800">
                <a:solidFill>
                  <a:schemeClr val="tx1"/>
                </a:solidFill>
              </a:defRPr>
            </a:lvl1pPr>
          </a:lstStyle>
          <a:p>
            <a:r>
              <a:rPr lang="en-CA" noProof="0"/>
              <a:t>[Add divider slide title]</a:t>
            </a:r>
          </a:p>
        </p:txBody>
      </p:sp>
      <p:sp>
        <p:nvSpPr>
          <p:cNvPr id="9" name="Subtitle">
            <a:extLst>
              <a:ext uri="{FF2B5EF4-FFF2-40B4-BE49-F238E27FC236}">
                <a16:creationId xmlns:a16="http://schemas.microsoft.com/office/drawing/2014/main" id="{5B5D3388-39EB-433E-8398-73E8EB7226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7541" y="4750904"/>
            <a:ext cx="6797188" cy="1338746"/>
          </a:xfrm>
        </p:spPr>
        <p:txBody>
          <a:bodyPr anchor="t">
            <a:noAutofit/>
          </a:bodyPr>
          <a:lstStyle>
            <a:lvl1pPr marL="0" indent="0">
              <a:buNone/>
              <a:defRPr sz="2400"/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/>
              <a:t>[Add optional divider slide subtitle]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C5D1B76-57D3-42B8-9F10-8B1146814176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91440" bIns="91440" rtlCol="0" anchor="t"/>
          <a:lstStyle/>
          <a:p>
            <a:pPr algn="l">
              <a:lnSpc>
                <a:spcPct val="90000"/>
              </a:lnSpc>
              <a:spcBef>
                <a:spcPts val="600"/>
              </a:spcBef>
            </a:pPr>
            <a:r>
              <a:rPr lang="en-US" sz="1400" dirty="0"/>
              <a:t>To change the color of the slide: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Right Click 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oose </a:t>
            </a:r>
            <a:r>
              <a:rPr lang="en-US" sz="1400" b="1" dirty="0"/>
              <a:t>Format Background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r>
              <a:rPr lang="en-US" sz="1400" dirty="0"/>
              <a:t>Change the color to one of the five brand colors indicated below:</a:t>
            </a:r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225425" indent="-225425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  <a:p>
            <a:pPr marL="0" indent="0" algn="l">
              <a:lnSpc>
                <a:spcPct val="90000"/>
              </a:lnSpc>
              <a:spcBef>
                <a:spcPts val="600"/>
              </a:spcBef>
              <a:buNone/>
            </a:pPr>
            <a:endParaRPr lang="en-US" sz="1400" dirty="0"/>
          </a:p>
          <a:p>
            <a:pPr marL="0" indent="0" algn="l">
              <a:lnSpc>
                <a:spcPct val="90000"/>
              </a:lnSpc>
              <a:spcBef>
                <a:spcPts val="600"/>
              </a:spcBef>
              <a:buNone/>
            </a:pPr>
            <a:r>
              <a:rPr lang="en-US" sz="1400" b="1" dirty="0"/>
              <a:t>Do not resize the </a:t>
            </a:r>
            <a:br>
              <a:rPr lang="en-US" sz="1400" b="1" dirty="0"/>
            </a:br>
            <a:r>
              <a:rPr lang="en-US" sz="1400" b="1" dirty="0"/>
              <a:t>image placeholder!  </a:t>
            </a:r>
          </a:p>
          <a:p>
            <a:pPr marL="342900" indent="-342900" algn="l">
              <a:lnSpc>
                <a:spcPct val="90000"/>
              </a:lnSpc>
              <a:spcBef>
                <a:spcPts val="600"/>
              </a:spcBef>
              <a:buAutoNum type="arabicPeriod"/>
            </a:pPr>
            <a:endParaRPr lang="en-US" sz="1400" dirty="0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0D7B3737-E421-4F44-B61A-8BC059C281AB}"/>
              </a:ext>
            </a:extLst>
          </p:cNvPr>
          <p:cNvGrpSpPr/>
          <p:nvPr userDrawn="1"/>
        </p:nvGrpSpPr>
        <p:grpSpPr>
          <a:xfrm>
            <a:off x="12404898" y="1978033"/>
            <a:ext cx="1937826" cy="2171702"/>
            <a:chOff x="5267428" y="2500428"/>
            <a:chExt cx="1657143" cy="1857143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A93D6248-173A-4395-AC5A-BD2BC062A91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5267428" y="2500428"/>
              <a:ext cx="1657143" cy="1857143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81864295-57D0-4DE5-A108-B2E0EF2D1C61}"/>
                </a:ext>
              </a:extLst>
            </p:cNvPr>
            <p:cNvSpPr/>
            <p:nvPr userDrawn="1"/>
          </p:nvSpPr>
          <p:spPr>
            <a:xfrm>
              <a:off x="5932009" y="2794715"/>
              <a:ext cx="816521" cy="159699"/>
            </a:xfrm>
            <a:prstGeom prst="rect">
              <a:avLst/>
            </a:prstGeom>
            <a:noFill/>
            <a:ln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38" name="Image Placeholder">
            <a:extLst>
              <a:ext uri="{FF2B5EF4-FFF2-40B4-BE49-F238E27FC236}">
                <a16:creationId xmlns:a16="http://schemas.microsoft.com/office/drawing/2014/main" id="{BE57AD78-C84D-44B7-86DC-43971FD781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501128" y="0"/>
            <a:ext cx="4690872" cy="6858000"/>
          </a:xfrm>
          <a:custGeom>
            <a:avLst/>
            <a:gdLst>
              <a:gd name="connsiteX0" fmla="*/ 4190228 w 4690872"/>
              <a:gd name="connsiteY0" fmla="*/ 346463 h 6858000"/>
              <a:gd name="connsiteX1" fmla="*/ 4190228 w 4690872"/>
              <a:gd name="connsiteY1" fmla="*/ 346658 h 6858000"/>
              <a:gd name="connsiteX2" fmla="*/ 4187625 w 4690872"/>
              <a:gd name="connsiteY2" fmla="*/ 346658 h 6858000"/>
              <a:gd name="connsiteX3" fmla="*/ 4190228 w 4690872"/>
              <a:gd name="connsiteY3" fmla="*/ 346463 h 6858000"/>
              <a:gd name="connsiteX4" fmla="*/ 4151298 w 4690872"/>
              <a:gd name="connsiteY4" fmla="*/ 318920 h 6858000"/>
              <a:gd name="connsiteX5" fmla="*/ 4187235 w 4690872"/>
              <a:gd name="connsiteY5" fmla="*/ 318920 h 6858000"/>
              <a:gd name="connsiteX6" fmla="*/ 4192288 w 4690872"/>
              <a:gd name="connsiteY6" fmla="*/ 325752 h 6858000"/>
              <a:gd name="connsiteX7" fmla="*/ 4192290 w 4690872"/>
              <a:gd name="connsiteY7" fmla="*/ 325949 h 6858000"/>
              <a:gd name="connsiteX8" fmla="*/ 4187235 w 4690872"/>
              <a:gd name="connsiteY8" fmla="*/ 330870 h 6858000"/>
              <a:gd name="connsiteX9" fmla="*/ 4151298 w 4690872"/>
              <a:gd name="connsiteY9" fmla="*/ 330870 h 6858000"/>
              <a:gd name="connsiteX10" fmla="*/ 3745521 w 4690872"/>
              <a:gd name="connsiteY10" fmla="*/ 318876 h 6858000"/>
              <a:gd name="connsiteX11" fmla="*/ 3781458 w 4690872"/>
              <a:gd name="connsiteY11" fmla="*/ 318876 h 6858000"/>
              <a:gd name="connsiteX12" fmla="*/ 3786489 w 4690872"/>
              <a:gd name="connsiteY12" fmla="*/ 326358 h 6858000"/>
              <a:gd name="connsiteX13" fmla="*/ 3781262 w 4690872"/>
              <a:gd name="connsiteY13" fmla="*/ 332409 h 6858000"/>
              <a:gd name="connsiteX14" fmla="*/ 3745521 w 4690872"/>
              <a:gd name="connsiteY14" fmla="*/ 332409 h 6858000"/>
              <a:gd name="connsiteX15" fmla="*/ 3862527 w 4690872"/>
              <a:gd name="connsiteY15" fmla="*/ 317575 h 6858000"/>
              <a:gd name="connsiteX16" fmla="*/ 3888292 w 4690872"/>
              <a:gd name="connsiteY16" fmla="*/ 337268 h 6858000"/>
              <a:gd name="connsiteX17" fmla="*/ 3886123 w 4690872"/>
              <a:gd name="connsiteY17" fmla="*/ 345119 h 6858000"/>
              <a:gd name="connsiteX18" fmla="*/ 3862592 w 4690872"/>
              <a:gd name="connsiteY18" fmla="*/ 357069 h 6858000"/>
              <a:gd name="connsiteX19" fmla="*/ 3836935 w 4690872"/>
              <a:gd name="connsiteY19" fmla="*/ 337268 h 6858000"/>
              <a:gd name="connsiteX20" fmla="*/ 3839191 w 4690872"/>
              <a:gd name="connsiteY20" fmla="*/ 328875 h 6858000"/>
              <a:gd name="connsiteX21" fmla="*/ 3862527 w 4690872"/>
              <a:gd name="connsiteY21" fmla="*/ 317575 h 6858000"/>
              <a:gd name="connsiteX22" fmla="*/ 4049995 w 4690872"/>
              <a:gd name="connsiteY22" fmla="*/ 303283 h 6858000"/>
              <a:gd name="connsiteX23" fmla="*/ 4046265 w 4690872"/>
              <a:gd name="connsiteY23" fmla="*/ 304693 h 6858000"/>
              <a:gd name="connsiteX24" fmla="*/ 4045701 w 4690872"/>
              <a:gd name="connsiteY24" fmla="*/ 305994 h 6858000"/>
              <a:gd name="connsiteX25" fmla="*/ 4045701 w 4690872"/>
              <a:gd name="connsiteY25" fmla="*/ 368259 h 6858000"/>
              <a:gd name="connsiteX26" fmla="*/ 4046265 w 4690872"/>
              <a:gd name="connsiteY26" fmla="*/ 369582 h 6858000"/>
              <a:gd name="connsiteX27" fmla="*/ 4049995 w 4690872"/>
              <a:gd name="connsiteY27" fmla="*/ 371079 h 6858000"/>
              <a:gd name="connsiteX28" fmla="*/ 4111003 w 4690872"/>
              <a:gd name="connsiteY28" fmla="*/ 371079 h 6858000"/>
              <a:gd name="connsiteX29" fmla="*/ 4114733 w 4690872"/>
              <a:gd name="connsiteY29" fmla="*/ 369105 h 6858000"/>
              <a:gd name="connsiteX30" fmla="*/ 4118268 w 4690872"/>
              <a:gd name="connsiteY30" fmla="*/ 358261 h 6858000"/>
              <a:gd name="connsiteX31" fmla="*/ 4118463 w 4690872"/>
              <a:gd name="connsiteY31" fmla="*/ 357806 h 6858000"/>
              <a:gd name="connsiteX32" fmla="*/ 4114538 w 4690872"/>
              <a:gd name="connsiteY32" fmla="*/ 355377 h 6858000"/>
              <a:gd name="connsiteX33" fmla="*/ 4064656 w 4690872"/>
              <a:gd name="connsiteY33" fmla="*/ 355377 h 6858000"/>
              <a:gd name="connsiteX34" fmla="*/ 4064656 w 4690872"/>
              <a:gd name="connsiteY34" fmla="*/ 345162 h 6858000"/>
              <a:gd name="connsiteX35" fmla="*/ 4097491 w 4690872"/>
              <a:gd name="connsiteY35" fmla="*/ 345162 h 6858000"/>
              <a:gd name="connsiteX36" fmla="*/ 4101308 w 4690872"/>
              <a:gd name="connsiteY36" fmla="*/ 342993 h 6858000"/>
              <a:gd name="connsiteX37" fmla="*/ 4104952 w 4690872"/>
              <a:gd name="connsiteY37" fmla="*/ 331976 h 6858000"/>
              <a:gd name="connsiteX38" fmla="*/ 4104952 w 4690872"/>
              <a:gd name="connsiteY38" fmla="*/ 331781 h 6858000"/>
              <a:gd name="connsiteX39" fmla="*/ 4101113 w 4690872"/>
              <a:gd name="connsiteY39" fmla="*/ 329265 h 6858000"/>
              <a:gd name="connsiteX40" fmla="*/ 4064721 w 4690872"/>
              <a:gd name="connsiteY40" fmla="*/ 329265 h 6858000"/>
              <a:gd name="connsiteX41" fmla="*/ 4064721 w 4690872"/>
              <a:gd name="connsiteY41" fmla="*/ 319006 h 6858000"/>
              <a:gd name="connsiteX42" fmla="*/ 4114603 w 4690872"/>
              <a:gd name="connsiteY42" fmla="*/ 319006 h 6858000"/>
              <a:gd name="connsiteX43" fmla="*/ 4118528 w 4690872"/>
              <a:gd name="connsiteY43" fmla="*/ 316577 h 6858000"/>
              <a:gd name="connsiteX44" fmla="*/ 4118333 w 4690872"/>
              <a:gd name="connsiteY44" fmla="*/ 316014 h 6858000"/>
              <a:gd name="connsiteX45" fmla="*/ 4114798 w 4690872"/>
              <a:gd name="connsiteY45" fmla="*/ 305170 h 6858000"/>
              <a:gd name="connsiteX46" fmla="*/ 4111068 w 4690872"/>
              <a:gd name="connsiteY46" fmla="*/ 303283 h 6858000"/>
              <a:gd name="connsiteX47" fmla="*/ 4136095 w 4690872"/>
              <a:gd name="connsiteY47" fmla="*/ 303218 h 6858000"/>
              <a:gd name="connsiteX48" fmla="*/ 4132365 w 4690872"/>
              <a:gd name="connsiteY48" fmla="*/ 305387 h 6858000"/>
              <a:gd name="connsiteX49" fmla="*/ 4132365 w 4690872"/>
              <a:gd name="connsiteY49" fmla="*/ 368953 h 6858000"/>
              <a:gd name="connsiteX50" fmla="*/ 4136095 w 4690872"/>
              <a:gd name="connsiteY50" fmla="*/ 371296 h 6858000"/>
              <a:gd name="connsiteX51" fmla="*/ 4147568 w 4690872"/>
              <a:gd name="connsiteY51" fmla="*/ 371296 h 6858000"/>
              <a:gd name="connsiteX52" fmla="*/ 4151298 w 4690872"/>
              <a:gd name="connsiteY52" fmla="*/ 368953 h 6858000"/>
              <a:gd name="connsiteX53" fmla="*/ 4151298 w 4690872"/>
              <a:gd name="connsiteY53" fmla="*/ 346658 h 6858000"/>
              <a:gd name="connsiteX54" fmla="*/ 4169234 w 4690872"/>
              <a:gd name="connsiteY54" fmla="*/ 346658 h 6858000"/>
              <a:gd name="connsiteX55" fmla="*/ 4191442 w 4690872"/>
              <a:gd name="connsiteY55" fmla="*/ 370255 h 6858000"/>
              <a:gd name="connsiteX56" fmla="*/ 4194609 w 4690872"/>
              <a:gd name="connsiteY56" fmla="*/ 371382 h 6858000"/>
              <a:gd name="connsiteX57" fmla="*/ 4209378 w 4690872"/>
              <a:gd name="connsiteY57" fmla="*/ 371382 h 6858000"/>
              <a:gd name="connsiteX58" fmla="*/ 4213000 w 4690872"/>
              <a:gd name="connsiteY58" fmla="*/ 369214 h 6858000"/>
              <a:gd name="connsiteX59" fmla="*/ 4212544 w 4690872"/>
              <a:gd name="connsiteY59" fmla="*/ 368086 h 6858000"/>
              <a:gd name="connsiteX60" fmla="*/ 4211699 w 4690872"/>
              <a:gd name="connsiteY60" fmla="*/ 367153 h 6858000"/>
              <a:gd name="connsiteX61" fmla="*/ 4209183 w 4690872"/>
              <a:gd name="connsiteY61" fmla="*/ 364356 h 6858000"/>
              <a:gd name="connsiteX62" fmla="*/ 4201440 w 4690872"/>
              <a:gd name="connsiteY62" fmla="*/ 356331 h 6858000"/>
              <a:gd name="connsiteX63" fmla="*/ 4193676 w 4690872"/>
              <a:gd name="connsiteY63" fmla="*/ 348198 h 6858000"/>
              <a:gd name="connsiteX64" fmla="*/ 4192006 w 4690872"/>
              <a:gd name="connsiteY64" fmla="*/ 346333 h 6858000"/>
              <a:gd name="connsiteX65" fmla="*/ 4211221 w 4690872"/>
              <a:gd name="connsiteY65" fmla="*/ 325817 h 6858000"/>
              <a:gd name="connsiteX66" fmla="*/ 4187235 w 4690872"/>
              <a:gd name="connsiteY66" fmla="*/ 303218 h 6858000"/>
              <a:gd name="connsiteX67" fmla="*/ 3730491 w 4690872"/>
              <a:gd name="connsiteY67" fmla="*/ 303109 h 6858000"/>
              <a:gd name="connsiteX68" fmla="*/ 3726566 w 4690872"/>
              <a:gd name="connsiteY68" fmla="*/ 305625 h 6858000"/>
              <a:gd name="connsiteX69" fmla="*/ 3726566 w 4690872"/>
              <a:gd name="connsiteY69" fmla="*/ 368910 h 6858000"/>
              <a:gd name="connsiteX70" fmla="*/ 3730491 w 4690872"/>
              <a:gd name="connsiteY70" fmla="*/ 371339 h 6858000"/>
              <a:gd name="connsiteX71" fmla="*/ 3741596 w 4690872"/>
              <a:gd name="connsiteY71" fmla="*/ 371339 h 6858000"/>
              <a:gd name="connsiteX72" fmla="*/ 3745521 w 4690872"/>
              <a:gd name="connsiteY72" fmla="*/ 368910 h 6858000"/>
              <a:gd name="connsiteX73" fmla="*/ 3745521 w 4690872"/>
              <a:gd name="connsiteY73" fmla="*/ 348198 h 6858000"/>
              <a:gd name="connsiteX74" fmla="*/ 3781045 w 4690872"/>
              <a:gd name="connsiteY74" fmla="*/ 348219 h 6858000"/>
              <a:gd name="connsiteX75" fmla="*/ 3805401 w 4690872"/>
              <a:gd name="connsiteY75" fmla="*/ 326532 h 6858000"/>
              <a:gd name="connsiteX76" fmla="*/ 3805401 w 4690872"/>
              <a:gd name="connsiteY76" fmla="*/ 326163 h 6858000"/>
              <a:gd name="connsiteX77" fmla="*/ 3781414 w 4690872"/>
              <a:gd name="connsiteY77" fmla="*/ 303109 h 6858000"/>
              <a:gd name="connsiteX78" fmla="*/ 3917158 w 4690872"/>
              <a:gd name="connsiteY78" fmla="*/ 303088 h 6858000"/>
              <a:gd name="connsiteX79" fmla="*/ 3913601 w 4690872"/>
              <a:gd name="connsiteY79" fmla="*/ 305257 h 6858000"/>
              <a:gd name="connsiteX80" fmla="*/ 3913709 w 4690872"/>
              <a:gd name="connsiteY80" fmla="*/ 305907 h 6858000"/>
              <a:gd name="connsiteX81" fmla="*/ 3943270 w 4690872"/>
              <a:gd name="connsiteY81" fmla="*/ 369951 h 6858000"/>
              <a:gd name="connsiteX82" fmla="*/ 3945048 w 4690872"/>
              <a:gd name="connsiteY82" fmla="*/ 371361 h 6858000"/>
              <a:gd name="connsiteX83" fmla="*/ 3945786 w 4690872"/>
              <a:gd name="connsiteY83" fmla="*/ 371534 h 6858000"/>
              <a:gd name="connsiteX84" fmla="*/ 3955502 w 4690872"/>
              <a:gd name="connsiteY84" fmla="*/ 371534 h 6858000"/>
              <a:gd name="connsiteX85" fmla="*/ 3958950 w 4690872"/>
              <a:gd name="connsiteY85" fmla="*/ 369864 h 6858000"/>
              <a:gd name="connsiteX86" fmla="*/ 3973698 w 4690872"/>
              <a:gd name="connsiteY86" fmla="*/ 334383 h 6858000"/>
              <a:gd name="connsiteX87" fmla="*/ 3988359 w 4690872"/>
              <a:gd name="connsiteY87" fmla="*/ 369864 h 6858000"/>
              <a:gd name="connsiteX88" fmla="*/ 3989378 w 4690872"/>
              <a:gd name="connsiteY88" fmla="*/ 370992 h 6858000"/>
              <a:gd name="connsiteX89" fmla="*/ 3990419 w 4690872"/>
              <a:gd name="connsiteY89" fmla="*/ 371534 h 6858000"/>
              <a:gd name="connsiteX90" fmla="*/ 4000677 w 4690872"/>
              <a:gd name="connsiteY90" fmla="*/ 371534 h 6858000"/>
              <a:gd name="connsiteX91" fmla="*/ 4004126 w 4690872"/>
              <a:gd name="connsiteY91" fmla="*/ 369951 h 6858000"/>
              <a:gd name="connsiteX92" fmla="*/ 4033729 w 4690872"/>
              <a:gd name="connsiteY92" fmla="*/ 306016 h 6858000"/>
              <a:gd name="connsiteX93" fmla="*/ 4033729 w 4690872"/>
              <a:gd name="connsiteY93" fmla="*/ 305365 h 6858000"/>
              <a:gd name="connsiteX94" fmla="*/ 4030194 w 4690872"/>
              <a:gd name="connsiteY94" fmla="*/ 303196 h 6858000"/>
              <a:gd name="connsiteX95" fmla="*/ 4016357 w 4690872"/>
              <a:gd name="connsiteY95" fmla="*/ 303196 h 6858000"/>
              <a:gd name="connsiteX96" fmla="*/ 4015620 w 4690872"/>
              <a:gd name="connsiteY96" fmla="*/ 303391 h 6858000"/>
              <a:gd name="connsiteX97" fmla="*/ 4013755 w 4690872"/>
              <a:gd name="connsiteY97" fmla="*/ 304779 h 6858000"/>
              <a:gd name="connsiteX98" fmla="*/ 3996773 w 4690872"/>
              <a:gd name="connsiteY98" fmla="*/ 341649 h 6858000"/>
              <a:gd name="connsiteX99" fmla="*/ 3983739 w 4690872"/>
              <a:gd name="connsiteY99" fmla="*/ 309724 h 6858000"/>
              <a:gd name="connsiteX100" fmla="*/ 3981570 w 4690872"/>
              <a:gd name="connsiteY100" fmla="*/ 304779 h 6858000"/>
              <a:gd name="connsiteX101" fmla="*/ 3978122 w 4690872"/>
              <a:gd name="connsiteY101" fmla="*/ 303088 h 6858000"/>
              <a:gd name="connsiteX102" fmla="*/ 3969447 w 4690872"/>
              <a:gd name="connsiteY102" fmla="*/ 303088 h 6858000"/>
              <a:gd name="connsiteX103" fmla="*/ 3965998 w 4690872"/>
              <a:gd name="connsiteY103" fmla="*/ 304779 h 6858000"/>
              <a:gd name="connsiteX104" fmla="*/ 3963830 w 4690872"/>
              <a:gd name="connsiteY104" fmla="*/ 309724 h 6858000"/>
              <a:gd name="connsiteX105" fmla="*/ 3950579 w 4690872"/>
              <a:gd name="connsiteY105" fmla="*/ 341540 h 6858000"/>
              <a:gd name="connsiteX106" fmla="*/ 3933489 w 4690872"/>
              <a:gd name="connsiteY106" fmla="*/ 304671 h 6858000"/>
              <a:gd name="connsiteX107" fmla="*/ 3930040 w 4690872"/>
              <a:gd name="connsiteY107" fmla="*/ 303088 h 6858000"/>
              <a:gd name="connsiteX108" fmla="*/ 3862592 w 4690872"/>
              <a:gd name="connsiteY108" fmla="*/ 301700 h 6858000"/>
              <a:gd name="connsiteX109" fmla="*/ 3843832 w 4690872"/>
              <a:gd name="connsiteY109" fmla="*/ 305062 h 6858000"/>
              <a:gd name="connsiteX110" fmla="*/ 3817980 w 4690872"/>
              <a:gd name="connsiteY110" fmla="*/ 337268 h 6858000"/>
              <a:gd name="connsiteX111" fmla="*/ 3862592 w 4690872"/>
              <a:gd name="connsiteY111" fmla="*/ 372836 h 6858000"/>
              <a:gd name="connsiteX112" fmla="*/ 3904037 w 4690872"/>
              <a:gd name="connsiteY112" fmla="*/ 351452 h 6858000"/>
              <a:gd name="connsiteX113" fmla="*/ 3907312 w 4690872"/>
              <a:gd name="connsiteY113" fmla="*/ 337268 h 6858000"/>
              <a:gd name="connsiteX114" fmla="*/ 3862592 w 4690872"/>
              <a:gd name="connsiteY114" fmla="*/ 301700 h 6858000"/>
              <a:gd name="connsiteX115" fmla="*/ 3970662 w 4690872"/>
              <a:gd name="connsiteY115" fmla="*/ 248738 h 6858000"/>
              <a:gd name="connsiteX116" fmla="*/ 3970662 w 4690872"/>
              <a:gd name="connsiteY116" fmla="*/ 248912 h 6858000"/>
              <a:gd name="connsiteX117" fmla="*/ 3968059 w 4690872"/>
              <a:gd name="connsiteY117" fmla="*/ 248912 h 6858000"/>
              <a:gd name="connsiteX118" fmla="*/ 3970662 w 4690872"/>
              <a:gd name="connsiteY118" fmla="*/ 248738 h 6858000"/>
              <a:gd name="connsiteX119" fmla="*/ 4304848 w 4690872"/>
              <a:gd name="connsiteY119" fmla="*/ 226898 h 6858000"/>
              <a:gd name="connsiteX120" fmla="*/ 4314932 w 4690872"/>
              <a:gd name="connsiteY120" fmla="*/ 246678 h 6858000"/>
              <a:gd name="connsiteX121" fmla="*/ 4294698 w 4690872"/>
              <a:gd name="connsiteY121" fmla="*/ 246678 h 6858000"/>
              <a:gd name="connsiteX122" fmla="*/ 4296021 w 4690872"/>
              <a:gd name="connsiteY122" fmla="*/ 244357 h 6858000"/>
              <a:gd name="connsiteX123" fmla="*/ 4300358 w 4690872"/>
              <a:gd name="connsiteY123" fmla="*/ 235573 h 6858000"/>
              <a:gd name="connsiteX124" fmla="*/ 4304848 w 4690872"/>
              <a:gd name="connsiteY124" fmla="*/ 226898 h 6858000"/>
              <a:gd name="connsiteX125" fmla="*/ 3931754 w 4690872"/>
              <a:gd name="connsiteY125" fmla="*/ 221195 h 6858000"/>
              <a:gd name="connsiteX126" fmla="*/ 3967691 w 4690872"/>
              <a:gd name="connsiteY126" fmla="*/ 221195 h 6858000"/>
              <a:gd name="connsiteX127" fmla="*/ 3972722 w 4690872"/>
              <a:gd name="connsiteY127" fmla="*/ 228005 h 6858000"/>
              <a:gd name="connsiteX128" fmla="*/ 3972724 w 4690872"/>
              <a:gd name="connsiteY128" fmla="*/ 228203 h 6858000"/>
              <a:gd name="connsiteX129" fmla="*/ 3967691 w 4690872"/>
              <a:gd name="connsiteY129" fmla="*/ 233145 h 6858000"/>
              <a:gd name="connsiteX130" fmla="*/ 3931754 w 4690872"/>
              <a:gd name="connsiteY130" fmla="*/ 233145 h 6858000"/>
              <a:gd name="connsiteX131" fmla="*/ 4463514 w 4690872"/>
              <a:gd name="connsiteY131" fmla="*/ 221173 h 6858000"/>
              <a:gd name="connsiteX132" fmla="*/ 4482838 w 4690872"/>
              <a:gd name="connsiteY132" fmla="*/ 221195 h 6858000"/>
              <a:gd name="connsiteX133" fmla="*/ 4507952 w 4690872"/>
              <a:gd name="connsiteY133" fmla="*/ 239586 h 6858000"/>
              <a:gd name="connsiteX134" fmla="*/ 4482838 w 4690872"/>
              <a:gd name="connsiteY134" fmla="*/ 257869 h 6858000"/>
              <a:gd name="connsiteX135" fmla="*/ 4463514 w 4690872"/>
              <a:gd name="connsiteY135" fmla="*/ 257869 h 6858000"/>
              <a:gd name="connsiteX136" fmla="*/ 3858168 w 4690872"/>
              <a:gd name="connsiteY136" fmla="*/ 219785 h 6858000"/>
              <a:gd name="connsiteX137" fmla="*/ 3883932 w 4690872"/>
              <a:gd name="connsiteY137" fmla="*/ 239499 h 6858000"/>
              <a:gd name="connsiteX138" fmla="*/ 3881764 w 4690872"/>
              <a:gd name="connsiteY138" fmla="*/ 247328 h 6858000"/>
              <a:gd name="connsiteX139" fmla="*/ 3858233 w 4690872"/>
              <a:gd name="connsiteY139" fmla="*/ 259278 h 6858000"/>
              <a:gd name="connsiteX140" fmla="*/ 3832554 w 4690872"/>
              <a:gd name="connsiteY140" fmla="*/ 239499 h 6858000"/>
              <a:gd name="connsiteX141" fmla="*/ 3834832 w 4690872"/>
              <a:gd name="connsiteY141" fmla="*/ 231084 h 6858000"/>
              <a:gd name="connsiteX142" fmla="*/ 3858168 w 4690872"/>
              <a:gd name="connsiteY142" fmla="*/ 219785 h 6858000"/>
              <a:gd name="connsiteX143" fmla="*/ 4298081 w 4690872"/>
              <a:gd name="connsiteY143" fmla="*/ 205536 h 6858000"/>
              <a:gd name="connsiteX144" fmla="*/ 4294329 w 4690872"/>
              <a:gd name="connsiteY144" fmla="*/ 207206 h 6858000"/>
              <a:gd name="connsiteX145" fmla="*/ 4261797 w 4690872"/>
              <a:gd name="connsiteY145" fmla="*/ 270491 h 6858000"/>
              <a:gd name="connsiteX146" fmla="*/ 4261624 w 4690872"/>
              <a:gd name="connsiteY146" fmla="*/ 271336 h 6858000"/>
              <a:gd name="connsiteX147" fmla="*/ 4265549 w 4690872"/>
              <a:gd name="connsiteY147" fmla="*/ 273766 h 6858000"/>
              <a:gd name="connsiteX148" fmla="*/ 4278042 w 4690872"/>
              <a:gd name="connsiteY148" fmla="*/ 273766 h 6858000"/>
              <a:gd name="connsiteX149" fmla="*/ 4281793 w 4690872"/>
              <a:gd name="connsiteY149" fmla="*/ 271987 h 6858000"/>
              <a:gd name="connsiteX150" fmla="*/ 4286738 w 4690872"/>
              <a:gd name="connsiteY150" fmla="*/ 262379 h 6858000"/>
              <a:gd name="connsiteX151" fmla="*/ 4323022 w 4690872"/>
              <a:gd name="connsiteY151" fmla="*/ 262379 h 6858000"/>
              <a:gd name="connsiteX152" fmla="*/ 4328162 w 4690872"/>
              <a:gd name="connsiteY152" fmla="*/ 271987 h 6858000"/>
              <a:gd name="connsiteX153" fmla="*/ 4331892 w 4690872"/>
              <a:gd name="connsiteY153" fmla="*/ 273766 h 6858000"/>
              <a:gd name="connsiteX154" fmla="*/ 4344406 w 4690872"/>
              <a:gd name="connsiteY154" fmla="*/ 273766 h 6858000"/>
              <a:gd name="connsiteX155" fmla="*/ 4347963 w 4690872"/>
              <a:gd name="connsiteY155" fmla="*/ 272182 h 6858000"/>
              <a:gd name="connsiteX156" fmla="*/ 4347963 w 4690872"/>
              <a:gd name="connsiteY156" fmla="*/ 270491 h 6858000"/>
              <a:gd name="connsiteX157" fmla="*/ 4315431 w 4690872"/>
              <a:gd name="connsiteY157" fmla="*/ 207206 h 6858000"/>
              <a:gd name="connsiteX158" fmla="*/ 4311701 w 4690872"/>
              <a:gd name="connsiteY158" fmla="*/ 205536 h 6858000"/>
              <a:gd name="connsiteX159" fmla="*/ 3916529 w 4690872"/>
              <a:gd name="connsiteY159" fmla="*/ 205493 h 6858000"/>
              <a:gd name="connsiteX160" fmla="*/ 3912799 w 4690872"/>
              <a:gd name="connsiteY160" fmla="*/ 207662 h 6858000"/>
              <a:gd name="connsiteX161" fmla="*/ 3912799 w 4690872"/>
              <a:gd name="connsiteY161" fmla="*/ 271228 h 6858000"/>
              <a:gd name="connsiteX162" fmla="*/ 3916529 w 4690872"/>
              <a:gd name="connsiteY162" fmla="*/ 273549 h 6858000"/>
              <a:gd name="connsiteX163" fmla="*/ 3928002 w 4690872"/>
              <a:gd name="connsiteY163" fmla="*/ 273549 h 6858000"/>
              <a:gd name="connsiteX164" fmla="*/ 3931754 w 4690872"/>
              <a:gd name="connsiteY164" fmla="*/ 271228 h 6858000"/>
              <a:gd name="connsiteX165" fmla="*/ 3931754 w 4690872"/>
              <a:gd name="connsiteY165" fmla="*/ 248912 h 6858000"/>
              <a:gd name="connsiteX166" fmla="*/ 3949668 w 4690872"/>
              <a:gd name="connsiteY166" fmla="*/ 248912 h 6858000"/>
              <a:gd name="connsiteX167" fmla="*/ 3971876 w 4690872"/>
              <a:gd name="connsiteY167" fmla="*/ 272551 h 6858000"/>
              <a:gd name="connsiteX168" fmla="*/ 3975064 w 4690872"/>
              <a:gd name="connsiteY168" fmla="*/ 273657 h 6858000"/>
              <a:gd name="connsiteX169" fmla="*/ 3989812 w 4690872"/>
              <a:gd name="connsiteY169" fmla="*/ 273657 h 6858000"/>
              <a:gd name="connsiteX170" fmla="*/ 3993456 w 4690872"/>
              <a:gd name="connsiteY170" fmla="*/ 271489 h 6858000"/>
              <a:gd name="connsiteX171" fmla="*/ 3992978 w 4690872"/>
              <a:gd name="connsiteY171" fmla="*/ 270361 h 6858000"/>
              <a:gd name="connsiteX172" fmla="*/ 3992133 w 4690872"/>
              <a:gd name="connsiteY172" fmla="*/ 269428 h 6858000"/>
              <a:gd name="connsiteX173" fmla="*/ 3989617 w 4690872"/>
              <a:gd name="connsiteY173" fmla="*/ 266631 h 6858000"/>
              <a:gd name="connsiteX174" fmla="*/ 3981874 w 4690872"/>
              <a:gd name="connsiteY174" fmla="*/ 258606 h 6858000"/>
              <a:gd name="connsiteX175" fmla="*/ 3974132 w 4690872"/>
              <a:gd name="connsiteY175" fmla="*/ 250473 h 6858000"/>
              <a:gd name="connsiteX176" fmla="*/ 3972440 w 4690872"/>
              <a:gd name="connsiteY176" fmla="*/ 248608 h 6858000"/>
              <a:gd name="connsiteX177" fmla="*/ 3991677 w 4690872"/>
              <a:gd name="connsiteY177" fmla="*/ 228070 h 6858000"/>
              <a:gd name="connsiteX178" fmla="*/ 3967691 w 4690872"/>
              <a:gd name="connsiteY178" fmla="*/ 205493 h 6858000"/>
              <a:gd name="connsiteX179" fmla="*/ 4417840 w 4690872"/>
              <a:gd name="connsiteY179" fmla="*/ 205472 h 6858000"/>
              <a:gd name="connsiteX180" fmla="*/ 4414196 w 4690872"/>
              <a:gd name="connsiteY180" fmla="*/ 206860 h 6858000"/>
              <a:gd name="connsiteX181" fmla="*/ 4413719 w 4690872"/>
              <a:gd name="connsiteY181" fmla="*/ 208074 h 6858000"/>
              <a:gd name="connsiteX182" fmla="*/ 4413719 w 4690872"/>
              <a:gd name="connsiteY182" fmla="*/ 246071 h 6858000"/>
              <a:gd name="connsiteX183" fmla="*/ 4372079 w 4690872"/>
              <a:gd name="connsiteY183" fmla="*/ 206664 h 6858000"/>
              <a:gd name="connsiteX184" fmla="*/ 4368717 w 4690872"/>
              <a:gd name="connsiteY184" fmla="*/ 205558 h 6858000"/>
              <a:gd name="connsiteX185" fmla="*/ 4359565 w 4690872"/>
              <a:gd name="connsiteY185" fmla="*/ 205558 h 6858000"/>
              <a:gd name="connsiteX186" fmla="*/ 4355921 w 4690872"/>
              <a:gd name="connsiteY186" fmla="*/ 206946 h 6858000"/>
              <a:gd name="connsiteX187" fmla="*/ 4355466 w 4690872"/>
              <a:gd name="connsiteY187" fmla="*/ 208161 h 6858000"/>
              <a:gd name="connsiteX188" fmla="*/ 4355466 w 4690872"/>
              <a:gd name="connsiteY188" fmla="*/ 271055 h 6858000"/>
              <a:gd name="connsiteX189" fmla="*/ 4355921 w 4690872"/>
              <a:gd name="connsiteY189" fmla="*/ 272270 h 6858000"/>
              <a:gd name="connsiteX190" fmla="*/ 4359565 w 4690872"/>
              <a:gd name="connsiteY190" fmla="*/ 273658 h 6858000"/>
              <a:gd name="connsiteX191" fmla="*/ 4370214 w 4690872"/>
              <a:gd name="connsiteY191" fmla="*/ 273658 h 6858000"/>
              <a:gd name="connsiteX192" fmla="*/ 4374421 w 4690872"/>
              <a:gd name="connsiteY192" fmla="*/ 271055 h 6858000"/>
              <a:gd name="connsiteX193" fmla="*/ 4374421 w 4690872"/>
              <a:gd name="connsiteY193" fmla="*/ 232668 h 6858000"/>
              <a:gd name="connsiteX194" fmla="*/ 4416474 w 4690872"/>
              <a:gd name="connsiteY194" fmla="*/ 272552 h 6858000"/>
              <a:gd name="connsiteX195" fmla="*/ 4419922 w 4690872"/>
              <a:gd name="connsiteY195" fmla="*/ 273658 h 6858000"/>
              <a:gd name="connsiteX196" fmla="*/ 4428597 w 4690872"/>
              <a:gd name="connsiteY196" fmla="*/ 273658 h 6858000"/>
              <a:gd name="connsiteX197" fmla="*/ 4432327 w 4690872"/>
              <a:gd name="connsiteY197" fmla="*/ 272183 h 6858000"/>
              <a:gd name="connsiteX198" fmla="*/ 4432783 w 4690872"/>
              <a:gd name="connsiteY198" fmla="*/ 270968 h 6858000"/>
              <a:gd name="connsiteX199" fmla="*/ 4432783 w 4690872"/>
              <a:gd name="connsiteY199" fmla="*/ 208074 h 6858000"/>
              <a:gd name="connsiteX200" fmla="*/ 4432306 w 4690872"/>
              <a:gd name="connsiteY200" fmla="*/ 206860 h 6858000"/>
              <a:gd name="connsiteX201" fmla="*/ 4428684 w 4690872"/>
              <a:gd name="connsiteY201" fmla="*/ 205472 h 6858000"/>
              <a:gd name="connsiteX202" fmla="*/ 3788831 w 4690872"/>
              <a:gd name="connsiteY202" fmla="*/ 205472 h 6858000"/>
              <a:gd name="connsiteX203" fmla="*/ 3785188 w 4690872"/>
              <a:gd name="connsiteY203" fmla="*/ 206860 h 6858000"/>
              <a:gd name="connsiteX204" fmla="*/ 3784711 w 4690872"/>
              <a:gd name="connsiteY204" fmla="*/ 208074 h 6858000"/>
              <a:gd name="connsiteX205" fmla="*/ 3784819 w 4690872"/>
              <a:gd name="connsiteY205" fmla="*/ 246071 h 6858000"/>
              <a:gd name="connsiteX206" fmla="*/ 3743179 w 4690872"/>
              <a:gd name="connsiteY206" fmla="*/ 206664 h 6858000"/>
              <a:gd name="connsiteX207" fmla="*/ 3739817 w 4690872"/>
              <a:gd name="connsiteY207" fmla="*/ 205558 h 6858000"/>
              <a:gd name="connsiteX208" fmla="*/ 3730665 w 4690872"/>
              <a:gd name="connsiteY208" fmla="*/ 205558 h 6858000"/>
              <a:gd name="connsiteX209" fmla="*/ 3727021 w 4690872"/>
              <a:gd name="connsiteY209" fmla="*/ 206946 h 6858000"/>
              <a:gd name="connsiteX210" fmla="*/ 3726566 w 4690872"/>
              <a:gd name="connsiteY210" fmla="*/ 208161 h 6858000"/>
              <a:gd name="connsiteX211" fmla="*/ 3726566 w 4690872"/>
              <a:gd name="connsiteY211" fmla="*/ 271055 h 6858000"/>
              <a:gd name="connsiteX212" fmla="*/ 3727021 w 4690872"/>
              <a:gd name="connsiteY212" fmla="*/ 272270 h 6858000"/>
              <a:gd name="connsiteX213" fmla="*/ 3730665 w 4690872"/>
              <a:gd name="connsiteY213" fmla="*/ 273658 h 6858000"/>
              <a:gd name="connsiteX214" fmla="*/ 3741314 w 4690872"/>
              <a:gd name="connsiteY214" fmla="*/ 273658 h 6858000"/>
              <a:gd name="connsiteX215" fmla="*/ 3745521 w 4690872"/>
              <a:gd name="connsiteY215" fmla="*/ 271055 h 6858000"/>
              <a:gd name="connsiteX216" fmla="*/ 3745521 w 4690872"/>
              <a:gd name="connsiteY216" fmla="*/ 232668 h 6858000"/>
              <a:gd name="connsiteX217" fmla="*/ 3787357 w 4690872"/>
              <a:gd name="connsiteY217" fmla="*/ 272552 h 6858000"/>
              <a:gd name="connsiteX218" fmla="*/ 3790805 w 4690872"/>
              <a:gd name="connsiteY218" fmla="*/ 273658 h 6858000"/>
              <a:gd name="connsiteX219" fmla="*/ 3799480 w 4690872"/>
              <a:gd name="connsiteY219" fmla="*/ 273658 h 6858000"/>
              <a:gd name="connsiteX220" fmla="*/ 3803210 w 4690872"/>
              <a:gd name="connsiteY220" fmla="*/ 272183 h 6858000"/>
              <a:gd name="connsiteX221" fmla="*/ 3803666 w 4690872"/>
              <a:gd name="connsiteY221" fmla="*/ 270969 h 6858000"/>
              <a:gd name="connsiteX222" fmla="*/ 3803666 w 4690872"/>
              <a:gd name="connsiteY222" fmla="*/ 208074 h 6858000"/>
              <a:gd name="connsiteX223" fmla="*/ 3803210 w 4690872"/>
              <a:gd name="connsiteY223" fmla="*/ 206860 h 6858000"/>
              <a:gd name="connsiteX224" fmla="*/ 3799567 w 4690872"/>
              <a:gd name="connsiteY224" fmla="*/ 205472 h 6858000"/>
              <a:gd name="connsiteX225" fmla="*/ 4449395 w 4690872"/>
              <a:gd name="connsiteY225" fmla="*/ 205428 h 6858000"/>
              <a:gd name="connsiteX226" fmla="*/ 4444624 w 4690872"/>
              <a:gd name="connsiteY226" fmla="*/ 208681 h 6858000"/>
              <a:gd name="connsiteX227" fmla="*/ 4444624 w 4690872"/>
              <a:gd name="connsiteY227" fmla="*/ 270383 h 6858000"/>
              <a:gd name="connsiteX228" fmla="*/ 4449395 w 4690872"/>
              <a:gd name="connsiteY228" fmla="*/ 273657 h 6858000"/>
              <a:gd name="connsiteX229" fmla="*/ 4482903 w 4690872"/>
              <a:gd name="connsiteY229" fmla="*/ 273657 h 6858000"/>
              <a:gd name="connsiteX230" fmla="*/ 4526864 w 4690872"/>
              <a:gd name="connsiteY230" fmla="*/ 239586 h 6858000"/>
              <a:gd name="connsiteX231" fmla="*/ 4482903 w 4690872"/>
              <a:gd name="connsiteY231" fmla="*/ 205428 h 6858000"/>
              <a:gd name="connsiteX232" fmla="*/ 4189404 w 4690872"/>
              <a:gd name="connsiteY232" fmla="*/ 205428 h 6858000"/>
              <a:gd name="connsiteX233" fmla="*/ 4185847 w 4690872"/>
              <a:gd name="connsiteY233" fmla="*/ 206816 h 6858000"/>
              <a:gd name="connsiteX234" fmla="*/ 4185370 w 4690872"/>
              <a:gd name="connsiteY234" fmla="*/ 207944 h 6858000"/>
              <a:gd name="connsiteX235" fmla="*/ 4185370 w 4690872"/>
              <a:gd name="connsiteY235" fmla="*/ 271033 h 6858000"/>
              <a:gd name="connsiteX236" fmla="*/ 4185847 w 4690872"/>
              <a:gd name="connsiteY236" fmla="*/ 272161 h 6858000"/>
              <a:gd name="connsiteX237" fmla="*/ 4189404 w 4690872"/>
              <a:gd name="connsiteY237" fmla="*/ 273549 h 6858000"/>
              <a:gd name="connsiteX238" fmla="*/ 4249782 w 4690872"/>
              <a:gd name="connsiteY238" fmla="*/ 273549 h 6858000"/>
              <a:gd name="connsiteX239" fmla="*/ 4253426 w 4690872"/>
              <a:gd name="connsiteY239" fmla="*/ 271792 h 6858000"/>
              <a:gd name="connsiteX240" fmla="*/ 4257156 w 4690872"/>
              <a:gd name="connsiteY240" fmla="*/ 260493 h 6858000"/>
              <a:gd name="connsiteX241" fmla="*/ 4257156 w 4690872"/>
              <a:gd name="connsiteY241" fmla="*/ 260211 h 6858000"/>
              <a:gd name="connsiteX242" fmla="*/ 4253426 w 4690872"/>
              <a:gd name="connsiteY242" fmla="*/ 257782 h 6858000"/>
              <a:gd name="connsiteX243" fmla="*/ 4204325 w 4690872"/>
              <a:gd name="connsiteY243" fmla="*/ 257782 h 6858000"/>
              <a:gd name="connsiteX244" fmla="*/ 4204260 w 4690872"/>
              <a:gd name="connsiteY244" fmla="*/ 207944 h 6858000"/>
              <a:gd name="connsiteX245" fmla="*/ 4203805 w 4690872"/>
              <a:gd name="connsiteY245" fmla="*/ 206816 h 6858000"/>
              <a:gd name="connsiteX246" fmla="*/ 4200248 w 4690872"/>
              <a:gd name="connsiteY246" fmla="*/ 205428 h 6858000"/>
              <a:gd name="connsiteX247" fmla="*/ 4100180 w 4690872"/>
              <a:gd name="connsiteY247" fmla="*/ 205428 h 6858000"/>
              <a:gd name="connsiteX248" fmla="*/ 4096645 w 4690872"/>
              <a:gd name="connsiteY248" fmla="*/ 206816 h 6858000"/>
              <a:gd name="connsiteX249" fmla="*/ 4096168 w 4690872"/>
              <a:gd name="connsiteY249" fmla="*/ 207944 h 6858000"/>
              <a:gd name="connsiteX250" fmla="*/ 4096168 w 4690872"/>
              <a:gd name="connsiteY250" fmla="*/ 271033 h 6858000"/>
              <a:gd name="connsiteX251" fmla="*/ 4096537 w 4690872"/>
              <a:gd name="connsiteY251" fmla="*/ 272161 h 6858000"/>
              <a:gd name="connsiteX252" fmla="*/ 4100180 w 4690872"/>
              <a:gd name="connsiteY252" fmla="*/ 273657 h 6858000"/>
              <a:gd name="connsiteX253" fmla="*/ 4111024 w 4690872"/>
              <a:gd name="connsiteY253" fmla="*/ 273657 h 6858000"/>
              <a:gd name="connsiteX254" fmla="*/ 4114668 w 4690872"/>
              <a:gd name="connsiteY254" fmla="*/ 272248 h 6858000"/>
              <a:gd name="connsiteX255" fmla="*/ 4115145 w 4690872"/>
              <a:gd name="connsiteY255" fmla="*/ 271033 h 6858000"/>
              <a:gd name="connsiteX256" fmla="*/ 4115145 w 4690872"/>
              <a:gd name="connsiteY256" fmla="*/ 247415 h 6858000"/>
              <a:gd name="connsiteX257" fmla="*/ 4154616 w 4690872"/>
              <a:gd name="connsiteY257" fmla="*/ 247415 h 6858000"/>
              <a:gd name="connsiteX258" fmla="*/ 4154616 w 4690872"/>
              <a:gd name="connsiteY258" fmla="*/ 271055 h 6858000"/>
              <a:gd name="connsiteX259" fmla="*/ 4154985 w 4690872"/>
              <a:gd name="connsiteY259" fmla="*/ 272183 h 6858000"/>
              <a:gd name="connsiteX260" fmla="*/ 4158629 w 4690872"/>
              <a:gd name="connsiteY260" fmla="*/ 273679 h 6858000"/>
              <a:gd name="connsiteX261" fmla="*/ 4169472 w 4690872"/>
              <a:gd name="connsiteY261" fmla="*/ 273679 h 6858000"/>
              <a:gd name="connsiteX262" fmla="*/ 4173116 w 4690872"/>
              <a:gd name="connsiteY262" fmla="*/ 272183 h 6858000"/>
              <a:gd name="connsiteX263" fmla="*/ 4173485 w 4690872"/>
              <a:gd name="connsiteY263" fmla="*/ 271055 h 6858000"/>
              <a:gd name="connsiteX264" fmla="*/ 4173485 w 4690872"/>
              <a:gd name="connsiteY264" fmla="*/ 207944 h 6858000"/>
              <a:gd name="connsiteX265" fmla="*/ 4173029 w 4690872"/>
              <a:gd name="connsiteY265" fmla="*/ 206816 h 6858000"/>
              <a:gd name="connsiteX266" fmla="*/ 4169472 w 4690872"/>
              <a:gd name="connsiteY266" fmla="*/ 205428 h 6858000"/>
              <a:gd name="connsiteX267" fmla="*/ 4158629 w 4690872"/>
              <a:gd name="connsiteY267" fmla="*/ 205428 h 6858000"/>
              <a:gd name="connsiteX268" fmla="*/ 4155093 w 4690872"/>
              <a:gd name="connsiteY268" fmla="*/ 206816 h 6858000"/>
              <a:gd name="connsiteX269" fmla="*/ 4154616 w 4690872"/>
              <a:gd name="connsiteY269" fmla="*/ 207944 h 6858000"/>
              <a:gd name="connsiteX270" fmla="*/ 4154616 w 4690872"/>
              <a:gd name="connsiteY270" fmla="*/ 231648 h 6858000"/>
              <a:gd name="connsiteX271" fmla="*/ 4115145 w 4690872"/>
              <a:gd name="connsiteY271" fmla="*/ 231648 h 6858000"/>
              <a:gd name="connsiteX272" fmla="*/ 4115145 w 4690872"/>
              <a:gd name="connsiteY272" fmla="*/ 207944 h 6858000"/>
              <a:gd name="connsiteX273" fmla="*/ 4114668 w 4690872"/>
              <a:gd name="connsiteY273" fmla="*/ 206729 h 6858000"/>
              <a:gd name="connsiteX274" fmla="*/ 4111024 w 4690872"/>
              <a:gd name="connsiteY274" fmla="*/ 205428 h 6858000"/>
              <a:gd name="connsiteX275" fmla="*/ 4007856 w 4690872"/>
              <a:gd name="connsiteY275" fmla="*/ 205427 h 6858000"/>
              <a:gd name="connsiteX276" fmla="*/ 4004581 w 4690872"/>
              <a:gd name="connsiteY276" fmla="*/ 207011 h 6858000"/>
              <a:gd name="connsiteX277" fmla="*/ 4000851 w 4690872"/>
              <a:gd name="connsiteY277" fmla="*/ 217356 h 6858000"/>
              <a:gd name="connsiteX278" fmla="*/ 4004213 w 4690872"/>
              <a:gd name="connsiteY278" fmla="*/ 219785 h 6858000"/>
              <a:gd name="connsiteX279" fmla="*/ 4033144 w 4690872"/>
              <a:gd name="connsiteY279" fmla="*/ 219785 h 6858000"/>
              <a:gd name="connsiteX280" fmla="*/ 4033144 w 4690872"/>
              <a:gd name="connsiteY280" fmla="*/ 271315 h 6858000"/>
              <a:gd name="connsiteX281" fmla="*/ 4036788 w 4690872"/>
              <a:gd name="connsiteY281" fmla="*/ 273483 h 6858000"/>
              <a:gd name="connsiteX282" fmla="*/ 4048369 w 4690872"/>
              <a:gd name="connsiteY282" fmla="*/ 273483 h 6858000"/>
              <a:gd name="connsiteX283" fmla="*/ 4052012 w 4690872"/>
              <a:gd name="connsiteY283" fmla="*/ 271315 h 6858000"/>
              <a:gd name="connsiteX284" fmla="*/ 4052012 w 4690872"/>
              <a:gd name="connsiteY284" fmla="*/ 219785 h 6858000"/>
              <a:gd name="connsiteX285" fmla="*/ 4080944 w 4690872"/>
              <a:gd name="connsiteY285" fmla="*/ 219785 h 6858000"/>
              <a:gd name="connsiteX286" fmla="*/ 4084305 w 4690872"/>
              <a:gd name="connsiteY286" fmla="*/ 217356 h 6858000"/>
              <a:gd name="connsiteX287" fmla="*/ 4080380 w 4690872"/>
              <a:gd name="connsiteY287" fmla="*/ 207011 h 6858000"/>
              <a:gd name="connsiteX288" fmla="*/ 4077105 w 4690872"/>
              <a:gd name="connsiteY288" fmla="*/ 205427 h 6858000"/>
              <a:gd name="connsiteX289" fmla="*/ 3858233 w 4690872"/>
              <a:gd name="connsiteY289" fmla="*/ 203931 h 6858000"/>
              <a:gd name="connsiteX290" fmla="*/ 3839473 w 4690872"/>
              <a:gd name="connsiteY290" fmla="*/ 207293 h 6858000"/>
              <a:gd name="connsiteX291" fmla="*/ 3813621 w 4690872"/>
              <a:gd name="connsiteY291" fmla="*/ 239499 h 6858000"/>
              <a:gd name="connsiteX292" fmla="*/ 3858233 w 4690872"/>
              <a:gd name="connsiteY292" fmla="*/ 275067 h 6858000"/>
              <a:gd name="connsiteX293" fmla="*/ 3899678 w 4690872"/>
              <a:gd name="connsiteY293" fmla="*/ 253704 h 6858000"/>
              <a:gd name="connsiteX294" fmla="*/ 3902953 w 4690872"/>
              <a:gd name="connsiteY294" fmla="*/ 239499 h 6858000"/>
              <a:gd name="connsiteX295" fmla="*/ 3858233 w 4690872"/>
              <a:gd name="connsiteY295" fmla="*/ 203931 h 6858000"/>
              <a:gd name="connsiteX296" fmla="*/ 3473478 w 4690872"/>
              <a:gd name="connsiteY296" fmla="*/ 202289 h 6858000"/>
              <a:gd name="connsiteX297" fmla="*/ 3319142 w 4690872"/>
              <a:gd name="connsiteY297" fmla="*/ 295541 h 6858000"/>
              <a:gd name="connsiteX298" fmla="*/ 3421768 w 4690872"/>
              <a:gd name="connsiteY298" fmla="*/ 485351 h 6858000"/>
              <a:gd name="connsiteX299" fmla="*/ 3535064 w 4690872"/>
              <a:gd name="connsiteY299" fmla="*/ 481014 h 6858000"/>
              <a:gd name="connsiteX300" fmla="*/ 3827458 w 4690872"/>
              <a:gd name="connsiteY300" fmla="*/ 400075 h 6858000"/>
              <a:gd name="connsiteX301" fmla="*/ 3357312 w 4690872"/>
              <a:gd name="connsiteY301" fmla="*/ 382725 h 6858000"/>
              <a:gd name="connsiteX302" fmla="*/ 3532982 w 4690872"/>
              <a:gd name="connsiteY302" fmla="*/ 212498 h 6858000"/>
              <a:gd name="connsiteX303" fmla="*/ 3473478 w 4690872"/>
              <a:gd name="connsiteY303" fmla="*/ 202289 h 6858000"/>
              <a:gd name="connsiteX304" fmla="*/ 3510676 w 4690872"/>
              <a:gd name="connsiteY304" fmla="*/ 152090 h 6858000"/>
              <a:gd name="connsiteX305" fmla="*/ 3451350 w 4690872"/>
              <a:gd name="connsiteY305" fmla="*/ 161727 h 6858000"/>
              <a:gd name="connsiteX306" fmla="*/ 3158978 w 4690872"/>
              <a:gd name="connsiteY306" fmla="*/ 242666 h 6858000"/>
              <a:gd name="connsiteX307" fmla="*/ 3629102 w 4690872"/>
              <a:gd name="connsiteY307" fmla="*/ 260016 h 6858000"/>
              <a:gd name="connsiteX308" fmla="*/ 3453432 w 4690872"/>
              <a:gd name="connsiteY308" fmla="*/ 430221 h 6858000"/>
              <a:gd name="connsiteX309" fmla="*/ 3667294 w 4690872"/>
              <a:gd name="connsiteY309" fmla="*/ 347179 h 6858000"/>
              <a:gd name="connsiteX310" fmla="*/ 3564668 w 4690872"/>
              <a:gd name="connsiteY310" fmla="*/ 157368 h 6858000"/>
              <a:gd name="connsiteX311" fmla="*/ 3510676 w 4690872"/>
              <a:gd name="connsiteY311" fmla="*/ 152090 h 6858000"/>
              <a:gd name="connsiteX312" fmla="*/ 0 w 4690872"/>
              <a:gd name="connsiteY312" fmla="*/ 0 h 6858000"/>
              <a:gd name="connsiteX313" fmla="*/ 4690872 w 4690872"/>
              <a:gd name="connsiteY313" fmla="*/ 0 h 6858000"/>
              <a:gd name="connsiteX314" fmla="*/ 4690872 w 4690872"/>
              <a:gd name="connsiteY314" fmla="*/ 6858000 h 6858000"/>
              <a:gd name="connsiteX315" fmla="*/ 0 w 4690872"/>
              <a:gd name="connsiteY31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</a:cxnLst>
            <a:rect l="l" t="t" r="r" b="b"/>
            <a:pathLst>
              <a:path w="4690872" h="6858000">
                <a:moveTo>
                  <a:pt x="4190228" y="346463"/>
                </a:moveTo>
                <a:lnTo>
                  <a:pt x="4190228" y="346658"/>
                </a:lnTo>
                <a:lnTo>
                  <a:pt x="4187625" y="346658"/>
                </a:lnTo>
                <a:cubicBezTo>
                  <a:pt x="4188558" y="346463"/>
                  <a:pt x="4189382" y="346463"/>
                  <a:pt x="4190228" y="346463"/>
                </a:cubicBezTo>
                <a:close/>
                <a:moveTo>
                  <a:pt x="4151298" y="318920"/>
                </a:moveTo>
                <a:lnTo>
                  <a:pt x="4187235" y="318920"/>
                </a:lnTo>
                <a:cubicBezTo>
                  <a:pt x="4190119" y="318920"/>
                  <a:pt x="4192288" y="323214"/>
                  <a:pt x="4192288" y="325752"/>
                </a:cubicBezTo>
                <a:cubicBezTo>
                  <a:pt x="4192290" y="325817"/>
                  <a:pt x="4192290" y="325883"/>
                  <a:pt x="4192290" y="325949"/>
                </a:cubicBezTo>
                <a:cubicBezTo>
                  <a:pt x="4192253" y="328703"/>
                  <a:pt x="4189989" y="330907"/>
                  <a:pt x="4187235" y="330870"/>
                </a:cubicBezTo>
                <a:lnTo>
                  <a:pt x="4151298" y="330870"/>
                </a:lnTo>
                <a:close/>
                <a:moveTo>
                  <a:pt x="3745521" y="318876"/>
                </a:moveTo>
                <a:lnTo>
                  <a:pt x="3781458" y="318876"/>
                </a:lnTo>
                <a:cubicBezTo>
                  <a:pt x="3784450" y="318876"/>
                  <a:pt x="3786489" y="323756"/>
                  <a:pt x="3786489" y="326358"/>
                </a:cubicBezTo>
                <a:cubicBezTo>
                  <a:pt x="3786489" y="328961"/>
                  <a:pt x="3784060" y="332409"/>
                  <a:pt x="3781262" y="332409"/>
                </a:cubicBezTo>
                <a:lnTo>
                  <a:pt x="3745521" y="332409"/>
                </a:lnTo>
                <a:close/>
                <a:moveTo>
                  <a:pt x="3862527" y="317575"/>
                </a:moveTo>
                <a:cubicBezTo>
                  <a:pt x="3873631" y="317575"/>
                  <a:pt x="3888292" y="324472"/>
                  <a:pt x="3888292" y="337268"/>
                </a:cubicBezTo>
                <a:cubicBezTo>
                  <a:pt x="3888285" y="340032"/>
                  <a:pt x="3887535" y="342743"/>
                  <a:pt x="3886123" y="345119"/>
                </a:cubicBezTo>
                <a:cubicBezTo>
                  <a:pt x="3882674" y="351365"/>
                  <a:pt x="3873869" y="357069"/>
                  <a:pt x="3862592" y="357069"/>
                </a:cubicBezTo>
                <a:cubicBezTo>
                  <a:pt x="3851314" y="357069"/>
                  <a:pt x="3836935" y="350150"/>
                  <a:pt x="3836935" y="337268"/>
                </a:cubicBezTo>
                <a:cubicBezTo>
                  <a:pt x="3836970" y="334325"/>
                  <a:pt x="3837744" y="331438"/>
                  <a:pt x="3839191" y="328875"/>
                </a:cubicBezTo>
                <a:cubicBezTo>
                  <a:pt x="3843008" y="322997"/>
                  <a:pt x="3851422" y="317575"/>
                  <a:pt x="3862527" y="317575"/>
                </a:cubicBezTo>
                <a:close/>
                <a:moveTo>
                  <a:pt x="4049995" y="303283"/>
                </a:moveTo>
                <a:cubicBezTo>
                  <a:pt x="4048598" y="303141"/>
                  <a:pt x="4047217" y="303663"/>
                  <a:pt x="4046265" y="304693"/>
                </a:cubicBezTo>
                <a:cubicBezTo>
                  <a:pt x="4045885" y="305015"/>
                  <a:pt x="4045677" y="305496"/>
                  <a:pt x="4045701" y="305994"/>
                </a:cubicBezTo>
                <a:lnTo>
                  <a:pt x="4045701" y="368259"/>
                </a:lnTo>
                <a:cubicBezTo>
                  <a:pt x="4045677" y="368762"/>
                  <a:pt x="4045885" y="369250"/>
                  <a:pt x="4046265" y="369582"/>
                </a:cubicBezTo>
                <a:cubicBezTo>
                  <a:pt x="4047206" y="370638"/>
                  <a:pt x="4048585" y="371191"/>
                  <a:pt x="4049995" y="371079"/>
                </a:cubicBezTo>
                <a:lnTo>
                  <a:pt x="4111003" y="371079"/>
                </a:lnTo>
                <a:cubicBezTo>
                  <a:pt x="4112516" y="371170"/>
                  <a:pt x="4113956" y="370408"/>
                  <a:pt x="4114733" y="369105"/>
                </a:cubicBezTo>
                <a:lnTo>
                  <a:pt x="4118268" y="358261"/>
                </a:lnTo>
                <a:cubicBezTo>
                  <a:pt x="4118381" y="358135"/>
                  <a:pt x="4118450" y="357975"/>
                  <a:pt x="4118463" y="357806"/>
                </a:cubicBezTo>
                <a:cubicBezTo>
                  <a:pt x="4118463" y="356960"/>
                  <a:pt x="4116706" y="355377"/>
                  <a:pt x="4114538" y="355377"/>
                </a:cubicBezTo>
                <a:lnTo>
                  <a:pt x="4064656" y="355377"/>
                </a:lnTo>
                <a:lnTo>
                  <a:pt x="4064656" y="345162"/>
                </a:lnTo>
                <a:lnTo>
                  <a:pt x="4097491" y="345162"/>
                </a:lnTo>
                <a:cubicBezTo>
                  <a:pt x="4099356" y="345162"/>
                  <a:pt x="4101113" y="343926"/>
                  <a:pt x="4101308" y="342993"/>
                </a:cubicBezTo>
                <a:lnTo>
                  <a:pt x="4104952" y="331976"/>
                </a:lnTo>
                <a:lnTo>
                  <a:pt x="4104952" y="331781"/>
                </a:lnTo>
                <a:cubicBezTo>
                  <a:pt x="4104952" y="330848"/>
                  <a:pt x="4103173" y="329265"/>
                  <a:pt x="4101113" y="329265"/>
                </a:cubicBezTo>
                <a:lnTo>
                  <a:pt x="4064721" y="329265"/>
                </a:lnTo>
                <a:lnTo>
                  <a:pt x="4064721" y="319006"/>
                </a:lnTo>
                <a:lnTo>
                  <a:pt x="4114603" y="319006"/>
                </a:lnTo>
                <a:cubicBezTo>
                  <a:pt x="4116750" y="319006"/>
                  <a:pt x="4118528" y="317510"/>
                  <a:pt x="4118528" y="316577"/>
                </a:cubicBezTo>
                <a:cubicBezTo>
                  <a:pt x="4118513" y="316376"/>
                  <a:pt x="4118446" y="316181"/>
                  <a:pt x="4118333" y="316014"/>
                </a:cubicBezTo>
                <a:lnTo>
                  <a:pt x="4114798" y="305170"/>
                </a:lnTo>
                <a:cubicBezTo>
                  <a:pt x="4114603" y="304324"/>
                  <a:pt x="4112933" y="303283"/>
                  <a:pt x="4111068" y="303283"/>
                </a:cubicBezTo>
                <a:close/>
                <a:moveTo>
                  <a:pt x="4136095" y="303218"/>
                </a:moveTo>
                <a:cubicBezTo>
                  <a:pt x="4134230" y="303218"/>
                  <a:pt x="4132365" y="304736"/>
                  <a:pt x="4132365" y="305387"/>
                </a:cubicBezTo>
                <a:lnTo>
                  <a:pt x="4132365" y="368953"/>
                </a:lnTo>
                <a:cubicBezTo>
                  <a:pt x="4132948" y="370478"/>
                  <a:pt x="4134469" y="371432"/>
                  <a:pt x="4136095" y="371296"/>
                </a:cubicBezTo>
                <a:lnTo>
                  <a:pt x="4147568" y="371296"/>
                </a:lnTo>
                <a:cubicBezTo>
                  <a:pt x="4149192" y="371426"/>
                  <a:pt x="4150708" y="370474"/>
                  <a:pt x="4151298" y="368953"/>
                </a:cubicBezTo>
                <a:lnTo>
                  <a:pt x="4151298" y="346658"/>
                </a:lnTo>
                <a:lnTo>
                  <a:pt x="4169234" y="346658"/>
                </a:lnTo>
                <a:lnTo>
                  <a:pt x="4191442" y="370255"/>
                </a:lnTo>
                <a:cubicBezTo>
                  <a:pt x="4192295" y="371057"/>
                  <a:pt x="4193442" y="371465"/>
                  <a:pt x="4194609" y="371382"/>
                </a:cubicBezTo>
                <a:lnTo>
                  <a:pt x="4209378" y="371382"/>
                </a:lnTo>
                <a:cubicBezTo>
                  <a:pt x="4211417" y="371382"/>
                  <a:pt x="4213000" y="369864"/>
                  <a:pt x="4213000" y="369214"/>
                </a:cubicBezTo>
                <a:cubicBezTo>
                  <a:pt x="4212959" y="368802"/>
                  <a:pt x="4212800" y="368411"/>
                  <a:pt x="4212544" y="368086"/>
                </a:cubicBezTo>
                <a:cubicBezTo>
                  <a:pt x="4212349" y="367804"/>
                  <a:pt x="4212262" y="367782"/>
                  <a:pt x="4211699" y="367153"/>
                </a:cubicBezTo>
                <a:cubicBezTo>
                  <a:pt x="4211135" y="366524"/>
                  <a:pt x="4210311" y="365570"/>
                  <a:pt x="4209183" y="364356"/>
                </a:cubicBezTo>
                <a:lnTo>
                  <a:pt x="4201440" y="356331"/>
                </a:lnTo>
                <a:cubicBezTo>
                  <a:pt x="4198621" y="353425"/>
                  <a:pt x="4195845" y="350367"/>
                  <a:pt x="4193676" y="348198"/>
                </a:cubicBezTo>
                <a:cubicBezTo>
                  <a:pt x="4193086" y="347606"/>
                  <a:pt x="4192529" y="346984"/>
                  <a:pt x="4192006" y="346333"/>
                </a:cubicBezTo>
                <a:cubicBezTo>
                  <a:pt x="4202546" y="344750"/>
                  <a:pt x="4211221" y="336660"/>
                  <a:pt x="4211221" y="325817"/>
                </a:cubicBezTo>
                <a:cubicBezTo>
                  <a:pt x="4211221" y="312739"/>
                  <a:pt x="4199857" y="303218"/>
                  <a:pt x="4187235" y="303218"/>
                </a:cubicBezTo>
                <a:close/>
                <a:moveTo>
                  <a:pt x="3730491" y="303109"/>
                </a:moveTo>
                <a:cubicBezTo>
                  <a:pt x="3729082" y="303109"/>
                  <a:pt x="3726566" y="303846"/>
                  <a:pt x="3726566" y="305625"/>
                </a:cubicBezTo>
                <a:lnTo>
                  <a:pt x="3726566" y="368910"/>
                </a:lnTo>
                <a:cubicBezTo>
                  <a:pt x="3727319" y="370389"/>
                  <a:pt x="3728832" y="371326"/>
                  <a:pt x="3730491" y="371339"/>
                </a:cubicBezTo>
                <a:lnTo>
                  <a:pt x="3741596" y="371339"/>
                </a:lnTo>
                <a:cubicBezTo>
                  <a:pt x="3743244" y="371286"/>
                  <a:pt x="3744740" y="370363"/>
                  <a:pt x="3745521" y="368910"/>
                </a:cubicBezTo>
                <a:lnTo>
                  <a:pt x="3745521" y="348198"/>
                </a:lnTo>
                <a:lnTo>
                  <a:pt x="3781045" y="348219"/>
                </a:lnTo>
                <a:cubicBezTo>
                  <a:pt x="3793733" y="348219"/>
                  <a:pt x="3804924" y="339414"/>
                  <a:pt x="3805401" y="326532"/>
                </a:cubicBezTo>
                <a:lnTo>
                  <a:pt x="3805401" y="326163"/>
                </a:lnTo>
                <a:cubicBezTo>
                  <a:pt x="3805093" y="313195"/>
                  <a:pt x="3794383" y="302903"/>
                  <a:pt x="3781414" y="303109"/>
                </a:cubicBezTo>
                <a:close/>
                <a:moveTo>
                  <a:pt x="3917158" y="303088"/>
                </a:moveTo>
                <a:cubicBezTo>
                  <a:pt x="3915098" y="303088"/>
                  <a:pt x="3913601" y="304606"/>
                  <a:pt x="3913601" y="305257"/>
                </a:cubicBezTo>
                <a:cubicBezTo>
                  <a:pt x="3913577" y="305479"/>
                  <a:pt x="3913614" y="305704"/>
                  <a:pt x="3913709" y="305907"/>
                </a:cubicBezTo>
                <a:lnTo>
                  <a:pt x="3943270" y="369951"/>
                </a:lnTo>
                <a:cubicBezTo>
                  <a:pt x="3943667" y="370625"/>
                  <a:pt x="3944300" y="371129"/>
                  <a:pt x="3945048" y="371361"/>
                </a:cubicBezTo>
                <a:lnTo>
                  <a:pt x="3945786" y="371534"/>
                </a:lnTo>
                <a:lnTo>
                  <a:pt x="3955502" y="371534"/>
                </a:lnTo>
                <a:cubicBezTo>
                  <a:pt x="3956816" y="371417"/>
                  <a:pt x="3958043" y="370823"/>
                  <a:pt x="3958950" y="369864"/>
                </a:cubicBezTo>
                <a:lnTo>
                  <a:pt x="3973698" y="334383"/>
                </a:lnTo>
                <a:lnTo>
                  <a:pt x="3988359" y="369864"/>
                </a:lnTo>
                <a:cubicBezTo>
                  <a:pt x="3988359" y="370038"/>
                  <a:pt x="3989204" y="370797"/>
                  <a:pt x="3989378" y="370992"/>
                </a:cubicBezTo>
                <a:lnTo>
                  <a:pt x="3990419" y="371534"/>
                </a:lnTo>
                <a:lnTo>
                  <a:pt x="4000677" y="371534"/>
                </a:lnTo>
                <a:cubicBezTo>
                  <a:pt x="4002024" y="371643"/>
                  <a:pt x="4003330" y="371042"/>
                  <a:pt x="4004126" y="369951"/>
                </a:cubicBezTo>
                <a:lnTo>
                  <a:pt x="4033729" y="306016"/>
                </a:lnTo>
                <a:cubicBezTo>
                  <a:pt x="4033770" y="305801"/>
                  <a:pt x="4033770" y="305580"/>
                  <a:pt x="4033729" y="305365"/>
                </a:cubicBezTo>
                <a:cubicBezTo>
                  <a:pt x="4033729" y="304606"/>
                  <a:pt x="4032146" y="303196"/>
                  <a:pt x="4030194" y="303196"/>
                </a:cubicBezTo>
                <a:lnTo>
                  <a:pt x="4016357" y="303196"/>
                </a:lnTo>
                <a:lnTo>
                  <a:pt x="4015620" y="303391"/>
                </a:lnTo>
                <a:cubicBezTo>
                  <a:pt x="4014852" y="303618"/>
                  <a:pt x="4014191" y="304110"/>
                  <a:pt x="4013755" y="304779"/>
                </a:cubicBezTo>
                <a:lnTo>
                  <a:pt x="3996773" y="341649"/>
                </a:lnTo>
                <a:lnTo>
                  <a:pt x="3983739" y="309724"/>
                </a:lnTo>
                <a:cubicBezTo>
                  <a:pt x="3983067" y="308033"/>
                  <a:pt x="3982329" y="306363"/>
                  <a:pt x="3981570" y="304779"/>
                </a:cubicBezTo>
                <a:cubicBezTo>
                  <a:pt x="3981202" y="303847"/>
                  <a:pt x="3980464" y="303088"/>
                  <a:pt x="3978122" y="303088"/>
                </a:cubicBezTo>
                <a:lnTo>
                  <a:pt x="3969447" y="303088"/>
                </a:lnTo>
                <a:cubicBezTo>
                  <a:pt x="3967668" y="303088"/>
                  <a:pt x="3966194" y="303934"/>
                  <a:pt x="3965998" y="304779"/>
                </a:cubicBezTo>
                <a:cubicBezTo>
                  <a:pt x="3965218" y="306363"/>
                  <a:pt x="3964480" y="308033"/>
                  <a:pt x="3963830" y="309724"/>
                </a:cubicBezTo>
                <a:lnTo>
                  <a:pt x="3950579" y="341540"/>
                </a:lnTo>
                <a:lnTo>
                  <a:pt x="3933489" y="304671"/>
                </a:lnTo>
                <a:cubicBezTo>
                  <a:pt x="3932688" y="303586"/>
                  <a:pt x="3931385" y="302988"/>
                  <a:pt x="3930040" y="303088"/>
                </a:cubicBezTo>
                <a:close/>
                <a:moveTo>
                  <a:pt x="3862592" y="301700"/>
                </a:moveTo>
                <a:cubicBezTo>
                  <a:pt x="3856196" y="301788"/>
                  <a:pt x="3849859" y="302924"/>
                  <a:pt x="3843832" y="305062"/>
                </a:cubicBezTo>
                <a:cubicBezTo>
                  <a:pt x="3823944" y="312067"/>
                  <a:pt x="3817980" y="325795"/>
                  <a:pt x="3817980" y="337268"/>
                </a:cubicBezTo>
                <a:cubicBezTo>
                  <a:pt x="3817980" y="359021"/>
                  <a:pt x="3842899" y="372836"/>
                  <a:pt x="3862592" y="372836"/>
                </a:cubicBezTo>
                <a:cubicBezTo>
                  <a:pt x="3885754" y="372836"/>
                  <a:pt x="3899005" y="361623"/>
                  <a:pt x="3904037" y="351452"/>
                </a:cubicBezTo>
                <a:cubicBezTo>
                  <a:pt x="3906197" y="347036"/>
                  <a:pt x="3907318" y="342184"/>
                  <a:pt x="3907312" y="337268"/>
                </a:cubicBezTo>
                <a:cubicBezTo>
                  <a:pt x="3907312" y="314019"/>
                  <a:pt x="3883238" y="301700"/>
                  <a:pt x="3862592" y="301700"/>
                </a:cubicBezTo>
                <a:close/>
                <a:moveTo>
                  <a:pt x="3970662" y="248738"/>
                </a:moveTo>
                <a:lnTo>
                  <a:pt x="3970662" y="248912"/>
                </a:lnTo>
                <a:lnTo>
                  <a:pt x="3968059" y="248912"/>
                </a:lnTo>
                <a:cubicBezTo>
                  <a:pt x="3968992" y="248738"/>
                  <a:pt x="3969838" y="248738"/>
                  <a:pt x="3970662" y="248738"/>
                </a:cubicBezTo>
                <a:close/>
                <a:moveTo>
                  <a:pt x="4304848" y="226898"/>
                </a:moveTo>
                <a:lnTo>
                  <a:pt x="4314932" y="246678"/>
                </a:lnTo>
                <a:lnTo>
                  <a:pt x="4294698" y="246678"/>
                </a:lnTo>
                <a:cubicBezTo>
                  <a:pt x="4295088" y="246027"/>
                  <a:pt x="4295457" y="245181"/>
                  <a:pt x="4296021" y="244357"/>
                </a:cubicBezTo>
                <a:cubicBezTo>
                  <a:pt x="4297083" y="241928"/>
                  <a:pt x="4298775" y="238653"/>
                  <a:pt x="4300358" y="235573"/>
                </a:cubicBezTo>
                <a:cubicBezTo>
                  <a:pt x="4301941" y="232494"/>
                  <a:pt x="4303633" y="229327"/>
                  <a:pt x="4304848" y="226898"/>
                </a:cubicBezTo>
                <a:close/>
                <a:moveTo>
                  <a:pt x="3931754" y="221195"/>
                </a:moveTo>
                <a:lnTo>
                  <a:pt x="3967691" y="221195"/>
                </a:lnTo>
                <a:cubicBezTo>
                  <a:pt x="3970553" y="221195"/>
                  <a:pt x="3972722" y="225489"/>
                  <a:pt x="3972722" y="228005"/>
                </a:cubicBezTo>
                <a:cubicBezTo>
                  <a:pt x="3972724" y="228071"/>
                  <a:pt x="3972724" y="228137"/>
                  <a:pt x="3972724" y="228203"/>
                </a:cubicBezTo>
                <a:cubicBezTo>
                  <a:pt x="3972698" y="230957"/>
                  <a:pt x="3970445" y="233170"/>
                  <a:pt x="3967691" y="233145"/>
                </a:cubicBezTo>
                <a:lnTo>
                  <a:pt x="3931754" y="233145"/>
                </a:lnTo>
                <a:close/>
                <a:moveTo>
                  <a:pt x="4463514" y="221173"/>
                </a:moveTo>
                <a:lnTo>
                  <a:pt x="4482838" y="221195"/>
                </a:lnTo>
                <a:cubicBezTo>
                  <a:pt x="4501446" y="221195"/>
                  <a:pt x="4507952" y="229415"/>
                  <a:pt x="4507952" y="239586"/>
                </a:cubicBezTo>
                <a:cubicBezTo>
                  <a:pt x="4507952" y="250885"/>
                  <a:pt x="4504027" y="257869"/>
                  <a:pt x="4482838" y="257869"/>
                </a:cubicBezTo>
                <a:lnTo>
                  <a:pt x="4463514" y="257869"/>
                </a:lnTo>
                <a:close/>
                <a:moveTo>
                  <a:pt x="3858168" y="219785"/>
                </a:moveTo>
                <a:cubicBezTo>
                  <a:pt x="3869272" y="219785"/>
                  <a:pt x="3883932" y="226703"/>
                  <a:pt x="3883932" y="239499"/>
                </a:cubicBezTo>
                <a:cubicBezTo>
                  <a:pt x="3883924" y="242256"/>
                  <a:pt x="3883176" y="244960"/>
                  <a:pt x="3881764" y="247328"/>
                </a:cubicBezTo>
                <a:cubicBezTo>
                  <a:pt x="3878294" y="253574"/>
                  <a:pt x="3869532" y="259278"/>
                  <a:pt x="3858233" y="259278"/>
                </a:cubicBezTo>
                <a:cubicBezTo>
                  <a:pt x="3846933" y="259278"/>
                  <a:pt x="3832554" y="252360"/>
                  <a:pt x="3832554" y="239499"/>
                </a:cubicBezTo>
                <a:cubicBezTo>
                  <a:pt x="3832585" y="236546"/>
                  <a:pt x="3833370" y="233649"/>
                  <a:pt x="3834832" y="231084"/>
                </a:cubicBezTo>
                <a:cubicBezTo>
                  <a:pt x="3838649" y="225207"/>
                  <a:pt x="3847063" y="219785"/>
                  <a:pt x="3858168" y="219785"/>
                </a:cubicBezTo>
                <a:close/>
                <a:moveTo>
                  <a:pt x="4298081" y="205536"/>
                </a:moveTo>
                <a:cubicBezTo>
                  <a:pt x="4296630" y="205428"/>
                  <a:pt x="4295220" y="206055"/>
                  <a:pt x="4294329" y="207206"/>
                </a:cubicBezTo>
                <a:lnTo>
                  <a:pt x="4261797" y="270491"/>
                </a:lnTo>
                <a:cubicBezTo>
                  <a:pt x="4261683" y="270758"/>
                  <a:pt x="4261624" y="271046"/>
                  <a:pt x="4261624" y="271336"/>
                </a:cubicBezTo>
                <a:cubicBezTo>
                  <a:pt x="4261624" y="272074"/>
                  <a:pt x="4263381" y="273766"/>
                  <a:pt x="4265549" y="273766"/>
                </a:cubicBezTo>
                <a:lnTo>
                  <a:pt x="4278042" y="273766"/>
                </a:lnTo>
                <a:cubicBezTo>
                  <a:pt x="4279486" y="273721"/>
                  <a:pt x="4280846" y="273077"/>
                  <a:pt x="4281793" y="271987"/>
                </a:cubicBezTo>
                <a:lnTo>
                  <a:pt x="4286738" y="262379"/>
                </a:lnTo>
                <a:lnTo>
                  <a:pt x="4323022" y="262379"/>
                </a:lnTo>
                <a:lnTo>
                  <a:pt x="4328162" y="271987"/>
                </a:lnTo>
                <a:cubicBezTo>
                  <a:pt x="4329025" y="273172"/>
                  <a:pt x="4330428" y="273841"/>
                  <a:pt x="4331892" y="273766"/>
                </a:cubicBezTo>
                <a:lnTo>
                  <a:pt x="4344406" y="273766"/>
                </a:lnTo>
                <a:cubicBezTo>
                  <a:pt x="4345787" y="273895"/>
                  <a:pt x="4347134" y="273295"/>
                  <a:pt x="4347963" y="272182"/>
                </a:cubicBezTo>
                <a:cubicBezTo>
                  <a:pt x="4348279" y="271663"/>
                  <a:pt x="4348279" y="271010"/>
                  <a:pt x="4347963" y="270491"/>
                </a:cubicBezTo>
                <a:lnTo>
                  <a:pt x="4315431" y="207206"/>
                </a:lnTo>
                <a:cubicBezTo>
                  <a:pt x="4315344" y="206924"/>
                  <a:pt x="4314499" y="205536"/>
                  <a:pt x="4311701" y="205536"/>
                </a:cubicBezTo>
                <a:close/>
                <a:moveTo>
                  <a:pt x="3916529" y="205493"/>
                </a:moveTo>
                <a:cubicBezTo>
                  <a:pt x="3914664" y="205493"/>
                  <a:pt x="3912799" y="207011"/>
                  <a:pt x="3912799" y="207662"/>
                </a:cubicBezTo>
                <a:lnTo>
                  <a:pt x="3912799" y="271228"/>
                </a:lnTo>
                <a:cubicBezTo>
                  <a:pt x="3913402" y="272734"/>
                  <a:pt x="3914911" y="273674"/>
                  <a:pt x="3916529" y="273549"/>
                </a:cubicBezTo>
                <a:lnTo>
                  <a:pt x="3928002" y="273549"/>
                </a:lnTo>
                <a:cubicBezTo>
                  <a:pt x="3929624" y="273677"/>
                  <a:pt x="3931145" y="272738"/>
                  <a:pt x="3931754" y="271228"/>
                </a:cubicBezTo>
                <a:lnTo>
                  <a:pt x="3931754" y="248912"/>
                </a:lnTo>
                <a:lnTo>
                  <a:pt x="3949668" y="248912"/>
                </a:lnTo>
                <a:lnTo>
                  <a:pt x="3971876" y="272551"/>
                </a:lnTo>
                <a:cubicBezTo>
                  <a:pt x="3972737" y="273349"/>
                  <a:pt x="3973893" y="273750"/>
                  <a:pt x="3975064" y="273657"/>
                </a:cubicBezTo>
                <a:lnTo>
                  <a:pt x="3989812" y="273657"/>
                </a:lnTo>
                <a:cubicBezTo>
                  <a:pt x="3991851" y="273657"/>
                  <a:pt x="3993456" y="272139"/>
                  <a:pt x="3993456" y="271489"/>
                </a:cubicBezTo>
                <a:cubicBezTo>
                  <a:pt x="3993399" y="271077"/>
                  <a:pt x="3993234" y="270688"/>
                  <a:pt x="3992978" y="270361"/>
                </a:cubicBezTo>
                <a:cubicBezTo>
                  <a:pt x="3992783" y="270079"/>
                  <a:pt x="3992697" y="270057"/>
                  <a:pt x="3992133" y="269428"/>
                </a:cubicBezTo>
                <a:cubicBezTo>
                  <a:pt x="3991569" y="268799"/>
                  <a:pt x="3990745" y="267845"/>
                  <a:pt x="3989617" y="266631"/>
                </a:cubicBezTo>
                <a:lnTo>
                  <a:pt x="3981874" y="258606"/>
                </a:lnTo>
                <a:cubicBezTo>
                  <a:pt x="3979077" y="255700"/>
                  <a:pt x="3976301" y="252642"/>
                  <a:pt x="3974132" y="250473"/>
                </a:cubicBezTo>
                <a:cubicBezTo>
                  <a:pt x="3973535" y="249881"/>
                  <a:pt x="3972972" y="249259"/>
                  <a:pt x="3972440" y="248608"/>
                </a:cubicBezTo>
                <a:cubicBezTo>
                  <a:pt x="3983002" y="247025"/>
                  <a:pt x="3991677" y="238914"/>
                  <a:pt x="3991677" y="228070"/>
                </a:cubicBezTo>
                <a:cubicBezTo>
                  <a:pt x="3991677" y="215014"/>
                  <a:pt x="3980291" y="205493"/>
                  <a:pt x="3967691" y="205493"/>
                </a:cubicBezTo>
                <a:close/>
                <a:moveTo>
                  <a:pt x="4417840" y="205472"/>
                </a:moveTo>
                <a:cubicBezTo>
                  <a:pt x="4416480" y="205371"/>
                  <a:pt x="4415144" y="205879"/>
                  <a:pt x="4414196" y="206860"/>
                </a:cubicBezTo>
                <a:cubicBezTo>
                  <a:pt x="4413934" y="207216"/>
                  <a:pt x="4413771" y="207635"/>
                  <a:pt x="4413719" y="208074"/>
                </a:cubicBezTo>
                <a:lnTo>
                  <a:pt x="4413719" y="246071"/>
                </a:lnTo>
                <a:lnTo>
                  <a:pt x="4372079" y="206664"/>
                </a:lnTo>
                <a:cubicBezTo>
                  <a:pt x="4371198" y="205783"/>
                  <a:pt x="4369949" y="205373"/>
                  <a:pt x="4368717" y="205558"/>
                </a:cubicBezTo>
                <a:lnTo>
                  <a:pt x="4359565" y="205558"/>
                </a:lnTo>
                <a:cubicBezTo>
                  <a:pt x="4358207" y="205475"/>
                  <a:pt x="4356880" y="205981"/>
                  <a:pt x="4355921" y="206946"/>
                </a:cubicBezTo>
                <a:cubicBezTo>
                  <a:pt x="4355650" y="207295"/>
                  <a:pt x="4355490" y="207719"/>
                  <a:pt x="4355466" y="208161"/>
                </a:cubicBezTo>
                <a:lnTo>
                  <a:pt x="4355466" y="271055"/>
                </a:lnTo>
                <a:cubicBezTo>
                  <a:pt x="4355490" y="271497"/>
                  <a:pt x="4355650" y="271921"/>
                  <a:pt x="4355921" y="272270"/>
                </a:cubicBezTo>
                <a:cubicBezTo>
                  <a:pt x="4356874" y="273245"/>
                  <a:pt x="4358205" y="273752"/>
                  <a:pt x="4359565" y="273658"/>
                </a:cubicBezTo>
                <a:lnTo>
                  <a:pt x="4370214" y="273658"/>
                </a:lnTo>
                <a:cubicBezTo>
                  <a:pt x="4371710" y="273658"/>
                  <a:pt x="4374421" y="273007"/>
                  <a:pt x="4374421" y="271055"/>
                </a:cubicBezTo>
                <a:lnTo>
                  <a:pt x="4374421" y="232668"/>
                </a:lnTo>
                <a:lnTo>
                  <a:pt x="4416474" y="272552"/>
                </a:lnTo>
                <a:cubicBezTo>
                  <a:pt x="4417406" y="273406"/>
                  <a:pt x="4418666" y="273810"/>
                  <a:pt x="4419922" y="273658"/>
                </a:cubicBezTo>
                <a:lnTo>
                  <a:pt x="4428597" y="273658"/>
                </a:lnTo>
                <a:cubicBezTo>
                  <a:pt x="4430005" y="273783"/>
                  <a:pt x="4431386" y="273237"/>
                  <a:pt x="4432327" y="272183"/>
                </a:cubicBezTo>
                <a:cubicBezTo>
                  <a:pt x="4432633" y="271854"/>
                  <a:pt x="4432796" y="271417"/>
                  <a:pt x="4432783" y="270968"/>
                </a:cubicBezTo>
                <a:lnTo>
                  <a:pt x="4432783" y="208074"/>
                </a:lnTo>
                <a:cubicBezTo>
                  <a:pt x="4432783" y="207624"/>
                  <a:pt x="4432614" y="207189"/>
                  <a:pt x="4432306" y="206860"/>
                </a:cubicBezTo>
                <a:cubicBezTo>
                  <a:pt x="4431384" y="205853"/>
                  <a:pt x="4430041" y="205339"/>
                  <a:pt x="4428684" y="205472"/>
                </a:cubicBezTo>
                <a:close/>
                <a:moveTo>
                  <a:pt x="3788831" y="205472"/>
                </a:moveTo>
                <a:cubicBezTo>
                  <a:pt x="3787472" y="205371"/>
                  <a:pt x="3786136" y="205879"/>
                  <a:pt x="3785188" y="206860"/>
                </a:cubicBezTo>
                <a:cubicBezTo>
                  <a:pt x="3784928" y="207216"/>
                  <a:pt x="3784763" y="207635"/>
                  <a:pt x="3784711" y="208074"/>
                </a:cubicBezTo>
                <a:lnTo>
                  <a:pt x="3784819" y="246071"/>
                </a:lnTo>
                <a:lnTo>
                  <a:pt x="3743179" y="206664"/>
                </a:lnTo>
                <a:cubicBezTo>
                  <a:pt x="3742300" y="205780"/>
                  <a:pt x="3741049" y="205369"/>
                  <a:pt x="3739817" y="205558"/>
                </a:cubicBezTo>
                <a:lnTo>
                  <a:pt x="3730665" y="205558"/>
                </a:lnTo>
                <a:cubicBezTo>
                  <a:pt x="3729307" y="205475"/>
                  <a:pt x="3727980" y="205981"/>
                  <a:pt x="3727021" y="206946"/>
                </a:cubicBezTo>
                <a:cubicBezTo>
                  <a:pt x="3726748" y="207295"/>
                  <a:pt x="3726590" y="207719"/>
                  <a:pt x="3726566" y="208161"/>
                </a:cubicBezTo>
                <a:lnTo>
                  <a:pt x="3726566" y="271055"/>
                </a:lnTo>
                <a:cubicBezTo>
                  <a:pt x="3726590" y="271497"/>
                  <a:pt x="3726750" y="271921"/>
                  <a:pt x="3727021" y="272270"/>
                </a:cubicBezTo>
                <a:cubicBezTo>
                  <a:pt x="3727974" y="273245"/>
                  <a:pt x="3729305" y="273752"/>
                  <a:pt x="3730665" y="273658"/>
                </a:cubicBezTo>
                <a:lnTo>
                  <a:pt x="3741314" y="273658"/>
                </a:lnTo>
                <a:cubicBezTo>
                  <a:pt x="3742810" y="273658"/>
                  <a:pt x="3745521" y="273007"/>
                  <a:pt x="3745521" y="271055"/>
                </a:cubicBezTo>
                <a:lnTo>
                  <a:pt x="3745521" y="232668"/>
                </a:lnTo>
                <a:lnTo>
                  <a:pt x="3787357" y="272552"/>
                </a:lnTo>
                <a:cubicBezTo>
                  <a:pt x="3788289" y="273406"/>
                  <a:pt x="3789549" y="273810"/>
                  <a:pt x="3790805" y="273658"/>
                </a:cubicBezTo>
                <a:lnTo>
                  <a:pt x="3799480" y="273658"/>
                </a:lnTo>
                <a:cubicBezTo>
                  <a:pt x="3800890" y="273805"/>
                  <a:pt x="3802282" y="273255"/>
                  <a:pt x="3803210" y="272183"/>
                </a:cubicBezTo>
                <a:cubicBezTo>
                  <a:pt x="3803516" y="271854"/>
                  <a:pt x="3803679" y="271417"/>
                  <a:pt x="3803666" y="270969"/>
                </a:cubicBezTo>
                <a:lnTo>
                  <a:pt x="3803666" y="208074"/>
                </a:lnTo>
                <a:cubicBezTo>
                  <a:pt x="3803666" y="207628"/>
                  <a:pt x="3803505" y="207196"/>
                  <a:pt x="3803210" y="206860"/>
                </a:cubicBezTo>
                <a:cubicBezTo>
                  <a:pt x="3802284" y="205846"/>
                  <a:pt x="3800933" y="205332"/>
                  <a:pt x="3799567" y="205472"/>
                </a:cubicBezTo>
                <a:close/>
                <a:moveTo>
                  <a:pt x="4449395" y="205428"/>
                </a:moveTo>
                <a:cubicBezTo>
                  <a:pt x="4447422" y="205428"/>
                  <a:pt x="4444624" y="206361"/>
                  <a:pt x="4444624" y="208681"/>
                </a:cubicBezTo>
                <a:lnTo>
                  <a:pt x="4444624" y="270383"/>
                </a:lnTo>
                <a:cubicBezTo>
                  <a:pt x="4444624" y="272725"/>
                  <a:pt x="4447422" y="273657"/>
                  <a:pt x="4449395" y="273657"/>
                </a:cubicBezTo>
                <a:lnTo>
                  <a:pt x="4482903" y="273657"/>
                </a:lnTo>
                <a:cubicBezTo>
                  <a:pt x="4518471" y="273657"/>
                  <a:pt x="4526864" y="253770"/>
                  <a:pt x="4526864" y="239586"/>
                </a:cubicBezTo>
                <a:cubicBezTo>
                  <a:pt x="4526864" y="215209"/>
                  <a:pt x="4504937" y="205428"/>
                  <a:pt x="4482903" y="205428"/>
                </a:cubicBezTo>
                <a:close/>
                <a:moveTo>
                  <a:pt x="4189404" y="205428"/>
                </a:moveTo>
                <a:cubicBezTo>
                  <a:pt x="4188059" y="205261"/>
                  <a:pt x="4186723" y="205783"/>
                  <a:pt x="4185847" y="206816"/>
                </a:cubicBezTo>
                <a:cubicBezTo>
                  <a:pt x="4185565" y="207127"/>
                  <a:pt x="4185398" y="207525"/>
                  <a:pt x="4185370" y="207944"/>
                </a:cubicBezTo>
                <a:lnTo>
                  <a:pt x="4185370" y="271033"/>
                </a:lnTo>
                <a:cubicBezTo>
                  <a:pt x="4185381" y="271456"/>
                  <a:pt x="4185550" y="271859"/>
                  <a:pt x="4185847" y="272161"/>
                </a:cubicBezTo>
                <a:cubicBezTo>
                  <a:pt x="4186723" y="273194"/>
                  <a:pt x="4188059" y="273716"/>
                  <a:pt x="4189404" y="273549"/>
                </a:cubicBezTo>
                <a:lnTo>
                  <a:pt x="4249782" y="273549"/>
                </a:lnTo>
                <a:cubicBezTo>
                  <a:pt x="4251474" y="273549"/>
                  <a:pt x="4253426" y="272529"/>
                  <a:pt x="4253426" y="271792"/>
                </a:cubicBezTo>
                <a:lnTo>
                  <a:pt x="4257156" y="260493"/>
                </a:lnTo>
                <a:lnTo>
                  <a:pt x="4257156" y="260211"/>
                </a:lnTo>
                <a:cubicBezTo>
                  <a:pt x="4257156" y="259365"/>
                  <a:pt x="4255486" y="257782"/>
                  <a:pt x="4253426" y="257782"/>
                </a:cubicBezTo>
                <a:lnTo>
                  <a:pt x="4204325" y="257782"/>
                </a:lnTo>
                <a:lnTo>
                  <a:pt x="4204260" y="207944"/>
                </a:lnTo>
                <a:cubicBezTo>
                  <a:pt x="4204243" y="207526"/>
                  <a:pt x="4204082" y="207128"/>
                  <a:pt x="4203805" y="206816"/>
                </a:cubicBezTo>
                <a:cubicBezTo>
                  <a:pt x="4202928" y="205783"/>
                  <a:pt x="4201592" y="205261"/>
                  <a:pt x="4200248" y="205428"/>
                </a:cubicBezTo>
                <a:close/>
                <a:moveTo>
                  <a:pt x="4100180" y="205428"/>
                </a:moveTo>
                <a:cubicBezTo>
                  <a:pt x="4098842" y="205260"/>
                  <a:pt x="4097510" y="205783"/>
                  <a:pt x="4096645" y="206816"/>
                </a:cubicBezTo>
                <a:cubicBezTo>
                  <a:pt x="4096357" y="207122"/>
                  <a:pt x="4096188" y="207523"/>
                  <a:pt x="4096168" y="207944"/>
                </a:cubicBezTo>
                <a:lnTo>
                  <a:pt x="4096168" y="271033"/>
                </a:lnTo>
                <a:cubicBezTo>
                  <a:pt x="4096172" y="271438"/>
                  <a:pt x="4096300" y="271832"/>
                  <a:pt x="4096537" y="272161"/>
                </a:cubicBezTo>
                <a:cubicBezTo>
                  <a:pt x="4097428" y="273232"/>
                  <a:pt x="4098792" y="273793"/>
                  <a:pt x="4100180" y="273657"/>
                </a:cubicBezTo>
                <a:lnTo>
                  <a:pt x="4111024" y="273657"/>
                </a:lnTo>
                <a:cubicBezTo>
                  <a:pt x="4112386" y="273740"/>
                  <a:pt x="4113716" y="273226"/>
                  <a:pt x="4114668" y="272248"/>
                </a:cubicBezTo>
                <a:cubicBezTo>
                  <a:pt x="4114980" y="271922"/>
                  <a:pt x="4115151" y="271485"/>
                  <a:pt x="4115145" y="271033"/>
                </a:cubicBezTo>
                <a:lnTo>
                  <a:pt x="4115145" y="247415"/>
                </a:lnTo>
                <a:lnTo>
                  <a:pt x="4154616" y="247415"/>
                </a:lnTo>
                <a:lnTo>
                  <a:pt x="4154616" y="271055"/>
                </a:lnTo>
                <a:cubicBezTo>
                  <a:pt x="4154621" y="271460"/>
                  <a:pt x="4154749" y="271853"/>
                  <a:pt x="4154985" y="272183"/>
                </a:cubicBezTo>
                <a:cubicBezTo>
                  <a:pt x="4155876" y="273254"/>
                  <a:pt x="4157241" y="273815"/>
                  <a:pt x="4158629" y="273679"/>
                </a:cubicBezTo>
                <a:lnTo>
                  <a:pt x="4169472" y="273679"/>
                </a:lnTo>
                <a:cubicBezTo>
                  <a:pt x="4170860" y="273818"/>
                  <a:pt x="4172227" y="273257"/>
                  <a:pt x="4173116" y="272183"/>
                </a:cubicBezTo>
                <a:cubicBezTo>
                  <a:pt x="4173352" y="271853"/>
                  <a:pt x="4173480" y="271460"/>
                  <a:pt x="4173485" y="271055"/>
                </a:cubicBezTo>
                <a:lnTo>
                  <a:pt x="4173485" y="207944"/>
                </a:lnTo>
                <a:cubicBezTo>
                  <a:pt x="4173467" y="207527"/>
                  <a:pt x="4173307" y="207129"/>
                  <a:pt x="4173029" y="206816"/>
                </a:cubicBezTo>
                <a:cubicBezTo>
                  <a:pt x="4172153" y="205783"/>
                  <a:pt x="4170817" y="205261"/>
                  <a:pt x="4169472" y="205428"/>
                </a:cubicBezTo>
                <a:lnTo>
                  <a:pt x="4158629" y="205428"/>
                </a:lnTo>
                <a:cubicBezTo>
                  <a:pt x="4156286" y="205428"/>
                  <a:pt x="4155267" y="206447"/>
                  <a:pt x="4155093" y="206816"/>
                </a:cubicBezTo>
                <a:cubicBezTo>
                  <a:pt x="4154805" y="207122"/>
                  <a:pt x="4154636" y="207523"/>
                  <a:pt x="4154616" y="207944"/>
                </a:cubicBezTo>
                <a:lnTo>
                  <a:pt x="4154616" y="231648"/>
                </a:lnTo>
                <a:lnTo>
                  <a:pt x="4115145" y="231648"/>
                </a:lnTo>
                <a:lnTo>
                  <a:pt x="4115145" y="207944"/>
                </a:lnTo>
                <a:cubicBezTo>
                  <a:pt x="4115147" y="207493"/>
                  <a:pt x="4114978" y="207058"/>
                  <a:pt x="4114668" y="206729"/>
                </a:cubicBezTo>
                <a:cubicBezTo>
                  <a:pt x="4113683" y="205814"/>
                  <a:pt x="4112367" y="205344"/>
                  <a:pt x="4111024" y="205428"/>
                </a:cubicBezTo>
                <a:close/>
                <a:moveTo>
                  <a:pt x="4007856" y="205427"/>
                </a:moveTo>
                <a:cubicBezTo>
                  <a:pt x="4005883" y="205427"/>
                  <a:pt x="4004581" y="206360"/>
                  <a:pt x="4004581" y="207011"/>
                </a:cubicBezTo>
                <a:lnTo>
                  <a:pt x="4000851" y="217356"/>
                </a:lnTo>
                <a:cubicBezTo>
                  <a:pt x="4000764" y="217616"/>
                  <a:pt x="4000374" y="219785"/>
                  <a:pt x="4004213" y="219785"/>
                </a:cubicBezTo>
                <a:lnTo>
                  <a:pt x="4033144" y="219785"/>
                </a:lnTo>
                <a:lnTo>
                  <a:pt x="4033144" y="271315"/>
                </a:lnTo>
                <a:cubicBezTo>
                  <a:pt x="4033842" y="272676"/>
                  <a:pt x="4035259" y="273519"/>
                  <a:pt x="4036788" y="273483"/>
                </a:cubicBezTo>
                <a:lnTo>
                  <a:pt x="4048369" y="273483"/>
                </a:lnTo>
                <a:cubicBezTo>
                  <a:pt x="4050234" y="273483"/>
                  <a:pt x="4052012" y="271965"/>
                  <a:pt x="4052012" y="271315"/>
                </a:cubicBezTo>
                <a:lnTo>
                  <a:pt x="4052012" y="219785"/>
                </a:lnTo>
                <a:lnTo>
                  <a:pt x="4080944" y="219785"/>
                </a:lnTo>
                <a:cubicBezTo>
                  <a:pt x="4084761" y="219785"/>
                  <a:pt x="4084305" y="217551"/>
                  <a:pt x="4084305" y="217356"/>
                </a:cubicBezTo>
                <a:lnTo>
                  <a:pt x="4080380" y="207011"/>
                </a:lnTo>
                <a:cubicBezTo>
                  <a:pt x="4079682" y="205899"/>
                  <a:pt x="4078411" y="205285"/>
                  <a:pt x="4077105" y="205427"/>
                </a:cubicBezTo>
                <a:close/>
                <a:moveTo>
                  <a:pt x="3858233" y="203931"/>
                </a:moveTo>
                <a:cubicBezTo>
                  <a:pt x="3851837" y="204016"/>
                  <a:pt x="3845500" y="205152"/>
                  <a:pt x="3839473" y="207293"/>
                </a:cubicBezTo>
                <a:cubicBezTo>
                  <a:pt x="3819585" y="214276"/>
                  <a:pt x="3813621" y="228004"/>
                  <a:pt x="3813621" y="239499"/>
                </a:cubicBezTo>
                <a:cubicBezTo>
                  <a:pt x="3813621" y="261230"/>
                  <a:pt x="3838540" y="275045"/>
                  <a:pt x="3858233" y="275067"/>
                </a:cubicBezTo>
                <a:cubicBezTo>
                  <a:pt x="3881373" y="275067"/>
                  <a:pt x="3894646" y="263876"/>
                  <a:pt x="3899678" y="253704"/>
                </a:cubicBezTo>
                <a:cubicBezTo>
                  <a:pt x="3901829" y="249278"/>
                  <a:pt x="3902950" y="244421"/>
                  <a:pt x="3902953" y="239499"/>
                </a:cubicBezTo>
                <a:cubicBezTo>
                  <a:pt x="3902953" y="216250"/>
                  <a:pt x="3878858" y="203931"/>
                  <a:pt x="3858233" y="203931"/>
                </a:cubicBezTo>
                <a:close/>
                <a:moveTo>
                  <a:pt x="3473478" y="202289"/>
                </a:moveTo>
                <a:cubicBezTo>
                  <a:pt x="3410108" y="204180"/>
                  <a:pt x="3341020" y="240595"/>
                  <a:pt x="3319142" y="295541"/>
                </a:cubicBezTo>
                <a:cubicBezTo>
                  <a:pt x="3270041" y="418878"/>
                  <a:pt x="3379000" y="474139"/>
                  <a:pt x="3421768" y="485351"/>
                </a:cubicBezTo>
                <a:cubicBezTo>
                  <a:pt x="3459461" y="495262"/>
                  <a:pt x="3490236" y="490882"/>
                  <a:pt x="3535064" y="481014"/>
                </a:cubicBezTo>
                <a:cubicBezTo>
                  <a:pt x="3606243" y="465333"/>
                  <a:pt x="3827458" y="400075"/>
                  <a:pt x="3827458" y="400075"/>
                </a:cubicBezTo>
                <a:cubicBezTo>
                  <a:pt x="3668335" y="427597"/>
                  <a:pt x="3422722" y="518295"/>
                  <a:pt x="3357312" y="382725"/>
                </a:cubicBezTo>
                <a:cubicBezTo>
                  <a:pt x="3323176" y="286670"/>
                  <a:pt x="3448118" y="185649"/>
                  <a:pt x="3532982" y="212498"/>
                </a:cubicBezTo>
                <a:cubicBezTo>
                  <a:pt x="3515090" y="204864"/>
                  <a:pt x="3494602" y="201658"/>
                  <a:pt x="3473478" y="202289"/>
                </a:cubicBezTo>
                <a:close/>
                <a:moveTo>
                  <a:pt x="3510676" y="152090"/>
                </a:moveTo>
                <a:cubicBezTo>
                  <a:pt x="3492665" y="153177"/>
                  <a:pt x="3473764" y="156750"/>
                  <a:pt x="3451350" y="161727"/>
                </a:cubicBezTo>
                <a:cubicBezTo>
                  <a:pt x="3380193" y="177429"/>
                  <a:pt x="3158978" y="242666"/>
                  <a:pt x="3158978" y="242666"/>
                </a:cubicBezTo>
                <a:cubicBezTo>
                  <a:pt x="3318079" y="215144"/>
                  <a:pt x="3563692" y="124555"/>
                  <a:pt x="3629102" y="260016"/>
                </a:cubicBezTo>
                <a:cubicBezTo>
                  <a:pt x="3663239" y="356071"/>
                  <a:pt x="3538318" y="457092"/>
                  <a:pt x="3453432" y="430221"/>
                </a:cubicBezTo>
                <a:cubicBezTo>
                  <a:pt x="3524980" y="460757"/>
                  <a:pt x="3638124" y="420440"/>
                  <a:pt x="3667294" y="347179"/>
                </a:cubicBezTo>
                <a:cubicBezTo>
                  <a:pt x="3716482" y="223841"/>
                  <a:pt x="3607415" y="168581"/>
                  <a:pt x="3564668" y="157368"/>
                </a:cubicBezTo>
                <a:cubicBezTo>
                  <a:pt x="3545810" y="152402"/>
                  <a:pt x="3528688" y="151003"/>
                  <a:pt x="3510676" y="152090"/>
                </a:cubicBezTo>
                <a:close/>
                <a:moveTo>
                  <a:pt x="0" y="0"/>
                </a:moveTo>
                <a:lnTo>
                  <a:pt x="4690872" y="0"/>
                </a:lnTo>
                <a:lnTo>
                  <a:pt x="4690872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endParaRPr lang="en-CA" noProof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2AFE87FF-76E6-4A60-928A-78722EE83627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D7B9487-E1B7-4AA3-94D6-65C6D25FA9A8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CA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25BCDA7-9919-4CB0-9508-CE6796A2A559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072932360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Name Upper Left">
            <a:extLst>
              <a:ext uri="{FF2B5EF4-FFF2-40B4-BE49-F238E27FC236}">
                <a16:creationId xmlns:a16="http://schemas.microsoft.com/office/drawing/2014/main" id="{10D4F568-5A53-4DD4-BFEA-6F5D0EBB130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97540" y="2608063"/>
            <a:ext cx="5043451" cy="442880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226478" indent="0">
              <a:buNone/>
              <a:defRPr/>
            </a:lvl2pPr>
          </a:lstStyle>
          <a:p>
            <a:pPr lvl="0"/>
            <a:r>
              <a:rPr lang="en-CA" noProof="0"/>
              <a:t>[Add name]</a:t>
            </a:r>
          </a:p>
        </p:txBody>
      </p:sp>
      <p:sp>
        <p:nvSpPr>
          <p:cNvPr id="7" name="Title Upper Left">
            <a:extLst>
              <a:ext uri="{FF2B5EF4-FFF2-40B4-BE49-F238E27FC236}">
                <a16:creationId xmlns:a16="http://schemas.microsoft.com/office/drawing/2014/main" id="{9C6E957B-0031-4B75-BE10-1BF659A685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7540" y="3082680"/>
            <a:ext cx="5043451" cy="294981"/>
          </a:xfrm>
        </p:spPr>
        <p:txBody>
          <a:bodyPr t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i="0"/>
            </a:lvl1pPr>
            <a:lvl2pPr marL="226478" indent="0">
              <a:buNone/>
              <a:defRPr/>
            </a:lvl2pPr>
          </a:lstStyle>
          <a:p>
            <a:pPr lvl="0"/>
            <a:r>
              <a:rPr lang="en-CA" noProof="0"/>
              <a:t>[Add title / organization / department]</a:t>
            </a:r>
          </a:p>
        </p:txBody>
      </p:sp>
      <p:sp>
        <p:nvSpPr>
          <p:cNvPr id="8" name="Contact Upper Left 1">
            <a:extLst>
              <a:ext uri="{FF2B5EF4-FFF2-40B4-BE49-F238E27FC236}">
                <a16:creationId xmlns:a16="http://schemas.microsoft.com/office/drawing/2014/main" id="{520923E9-7A04-48CA-9ADD-B350438904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7540" y="3425391"/>
            <a:ext cx="5043451" cy="254863"/>
          </a:xfrm>
        </p:spPr>
        <p:txBody>
          <a:bodyPr anchor="ctr">
            <a:noAutofit/>
          </a:bodyPr>
          <a:lstStyle>
            <a:lvl1pPr marL="0" indent="0">
              <a:buNone/>
              <a:defRPr lang="en-US" sz="1600" dirty="0"/>
            </a:lvl1pPr>
            <a:lvl2pPr marL="226478" indent="0">
              <a:buNone/>
              <a:defRPr/>
            </a:lvl2pPr>
          </a:lstStyle>
          <a:p>
            <a:r>
              <a:rPr lang="en-CA" noProof="0"/>
              <a:t>[Click to add contact info (email/phone]</a:t>
            </a:r>
          </a:p>
        </p:txBody>
      </p:sp>
      <p:sp>
        <p:nvSpPr>
          <p:cNvPr id="9" name="Contact Upper Left 2">
            <a:extLst>
              <a:ext uri="{FF2B5EF4-FFF2-40B4-BE49-F238E27FC236}">
                <a16:creationId xmlns:a16="http://schemas.microsoft.com/office/drawing/2014/main" id="{5AF8F487-2F7F-465F-B76A-74CE09BE57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97541" y="3702139"/>
            <a:ext cx="5043452" cy="254863"/>
          </a:xfrm>
        </p:spPr>
        <p:txBody>
          <a:bodyPr anchor="ctr">
            <a:noAutofit/>
          </a:bodyPr>
          <a:lstStyle>
            <a:lvl1pPr marL="0" indent="0">
              <a:buNone/>
              <a:defRPr lang="en-US" sz="1600" dirty="0"/>
            </a:lvl1pPr>
            <a:lvl2pPr marL="226478" indent="0">
              <a:buNone/>
              <a:defRPr/>
            </a:lvl2pPr>
          </a:lstStyle>
          <a:p>
            <a:r>
              <a:rPr lang="en-CA" noProof="0"/>
              <a:t>[Click to add contact info (email/phone) or remove]</a:t>
            </a:r>
          </a:p>
        </p:txBody>
      </p:sp>
      <p:sp>
        <p:nvSpPr>
          <p:cNvPr id="10" name="Name Upper Right">
            <a:extLst>
              <a:ext uri="{FF2B5EF4-FFF2-40B4-BE49-F238E27FC236}">
                <a16:creationId xmlns:a16="http://schemas.microsoft.com/office/drawing/2014/main" id="{87BCAE0B-E701-4B88-98FF-05F77537970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00935" y="2608063"/>
            <a:ext cx="5043451" cy="442880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226478" indent="0">
              <a:buNone/>
              <a:defRPr/>
            </a:lvl2pPr>
          </a:lstStyle>
          <a:p>
            <a:pPr lvl="0"/>
            <a:r>
              <a:rPr lang="en-CA" noProof="0"/>
              <a:t>[Add name – remove if not needed]</a:t>
            </a:r>
          </a:p>
        </p:txBody>
      </p:sp>
      <p:sp>
        <p:nvSpPr>
          <p:cNvPr id="11" name="Name Upper Right">
            <a:extLst>
              <a:ext uri="{FF2B5EF4-FFF2-40B4-BE49-F238E27FC236}">
                <a16:creationId xmlns:a16="http://schemas.microsoft.com/office/drawing/2014/main" id="{623AA5B1-5416-487D-8183-2A602CA221C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100935" y="3082680"/>
            <a:ext cx="5043451" cy="294981"/>
          </a:xfrm>
        </p:spPr>
        <p:txBody>
          <a:bodyPr t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i="0"/>
            </a:lvl1pPr>
            <a:lvl2pPr marL="226478" indent="0">
              <a:buNone/>
              <a:defRPr/>
            </a:lvl2pPr>
          </a:lstStyle>
          <a:p>
            <a:pPr lvl="0"/>
            <a:r>
              <a:rPr lang="en-CA" noProof="0"/>
              <a:t>[Add title / organization / department]</a:t>
            </a:r>
          </a:p>
        </p:txBody>
      </p:sp>
      <p:sp>
        <p:nvSpPr>
          <p:cNvPr id="12" name="Contact Upper Right 1">
            <a:extLst>
              <a:ext uri="{FF2B5EF4-FFF2-40B4-BE49-F238E27FC236}">
                <a16:creationId xmlns:a16="http://schemas.microsoft.com/office/drawing/2014/main" id="{34133030-52BE-4C04-9311-9D3B1DB6E03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100935" y="3425391"/>
            <a:ext cx="5043451" cy="254863"/>
          </a:xfrm>
        </p:spPr>
        <p:txBody>
          <a:bodyPr anchor="ctr">
            <a:noAutofit/>
          </a:bodyPr>
          <a:lstStyle>
            <a:lvl1pPr marL="0" indent="0">
              <a:buNone/>
              <a:defRPr lang="en-US" sz="1600" dirty="0"/>
            </a:lvl1pPr>
            <a:lvl2pPr marL="226478" indent="0">
              <a:buNone/>
              <a:defRPr/>
            </a:lvl2pPr>
          </a:lstStyle>
          <a:p>
            <a:r>
              <a:rPr lang="en-CA" noProof="0"/>
              <a:t>[Click to add contact info (email/phone]</a:t>
            </a:r>
          </a:p>
        </p:txBody>
      </p:sp>
      <p:sp>
        <p:nvSpPr>
          <p:cNvPr id="13" name="Contact Upper Right 2">
            <a:extLst>
              <a:ext uri="{FF2B5EF4-FFF2-40B4-BE49-F238E27FC236}">
                <a16:creationId xmlns:a16="http://schemas.microsoft.com/office/drawing/2014/main" id="{F1099D9B-372B-44C6-A67D-37CCA10D60B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00937" y="3702139"/>
            <a:ext cx="5043452" cy="254863"/>
          </a:xfrm>
        </p:spPr>
        <p:txBody>
          <a:bodyPr anchor="ctr">
            <a:noAutofit/>
          </a:bodyPr>
          <a:lstStyle>
            <a:lvl1pPr marL="0" indent="0">
              <a:buNone/>
              <a:defRPr lang="en-US" sz="1600" dirty="0"/>
            </a:lvl1pPr>
            <a:lvl2pPr marL="226478" indent="0">
              <a:buNone/>
              <a:defRPr/>
            </a:lvl2pPr>
          </a:lstStyle>
          <a:p>
            <a:r>
              <a:rPr lang="en-CA" noProof="0"/>
              <a:t>[Click to add contact info (email/phone) or remove]</a:t>
            </a:r>
          </a:p>
        </p:txBody>
      </p:sp>
      <p:sp>
        <p:nvSpPr>
          <p:cNvPr id="19" name="Name Lower Left">
            <a:extLst>
              <a:ext uri="{FF2B5EF4-FFF2-40B4-BE49-F238E27FC236}">
                <a16:creationId xmlns:a16="http://schemas.microsoft.com/office/drawing/2014/main" id="{3C529E4D-2B14-4CD8-ABE9-0FCA04C606E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97540" y="4437773"/>
            <a:ext cx="5043451" cy="442880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226478" indent="0">
              <a:buNone/>
              <a:defRPr/>
            </a:lvl2pPr>
          </a:lstStyle>
          <a:p>
            <a:pPr lvl="0"/>
            <a:r>
              <a:rPr lang="en-CA" noProof="0"/>
              <a:t>[Add name – remove if not needed]</a:t>
            </a:r>
          </a:p>
        </p:txBody>
      </p:sp>
      <p:sp>
        <p:nvSpPr>
          <p:cNvPr id="23" name="Title Lower Left">
            <a:extLst>
              <a:ext uri="{FF2B5EF4-FFF2-40B4-BE49-F238E27FC236}">
                <a16:creationId xmlns:a16="http://schemas.microsoft.com/office/drawing/2014/main" id="{F68CE1AB-DB30-4FAA-8471-367C144A23E9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97540" y="4912391"/>
            <a:ext cx="5043451" cy="294981"/>
          </a:xfrm>
        </p:spPr>
        <p:txBody>
          <a:bodyPr t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i="0"/>
            </a:lvl1pPr>
            <a:lvl2pPr marL="226478" indent="0">
              <a:buNone/>
              <a:defRPr/>
            </a:lvl2pPr>
          </a:lstStyle>
          <a:p>
            <a:pPr lvl="0"/>
            <a:r>
              <a:rPr lang="en-CA" noProof="0"/>
              <a:t>[Add title / organization / department]</a:t>
            </a:r>
          </a:p>
        </p:txBody>
      </p:sp>
      <p:sp>
        <p:nvSpPr>
          <p:cNvPr id="24" name="Contact Lower Left 1">
            <a:extLst>
              <a:ext uri="{FF2B5EF4-FFF2-40B4-BE49-F238E27FC236}">
                <a16:creationId xmlns:a16="http://schemas.microsoft.com/office/drawing/2014/main" id="{DBEE4CA7-B24D-40AF-A1B8-67B1FFBF7E0B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97540" y="5255102"/>
            <a:ext cx="5043451" cy="254863"/>
          </a:xfrm>
        </p:spPr>
        <p:txBody>
          <a:bodyPr anchor="ctr">
            <a:noAutofit/>
          </a:bodyPr>
          <a:lstStyle>
            <a:lvl1pPr marL="0" indent="0">
              <a:buNone/>
              <a:defRPr lang="en-US" sz="1600" dirty="0"/>
            </a:lvl1pPr>
            <a:lvl2pPr marL="226478" indent="0">
              <a:buNone/>
              <a:defRPr/>
            </a:lvl2pPr>
          </a:lstStyle>
          <a:p>
            <a:r>
              <a:rPr lang="en-CA" noProof="0"/>
              <a:t>[Click to add contact info (email/phone]</a:t>
            </a:r>
          </a:p>
        </p:txBody>
      </p:sp>
      <p:sp>
        <p:nvSpPr>
          <p:cNvPr id="25" name="Contact Lower Left 2">
            <a:extLst>
              <a:ext uri="{FF2B5EF4-FFF2-40B4-BE49-F238E27FC236}">
                <a16:creationId xmlns:a16="http://schemas.microsoft.com/office/drawing/2014/main" id="{B65DA390-A176-4ED3-ADD3-BA47F7D3898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497541" y="5531850"/>
            <a:ext cx="5043452" cy="254863"/>
          </a:xfrm>
        </p:spPr>
        <p:txBody>
          <a:bodyPr anchor="ctr">
            <a:noAutofit/>
          </a:bodyPr>
          <a:lstStyle>
            <a:lvl1pPr marL="0" indent="0">
              <a:buNone/>
              <a:defRPr lang="en-US" sz="1600" dirty="0"/>
            </a:lvl1pPr>
            <a:lvl2pPr marL="226478" indent="0">
              <a:buNone/>
              <a:defRPr/>
            </a:lvl2pPr>
          </a:lstStyle>
          <a:p>
            <a:r>
              <a:rPr lang="en-CA" noProof="0"/>
              <a:t>[Click to add contact info (email/phone) or remove]</a:t>
            </a:r>
          </a:p>
        </p:txBody>
      </p:sp>
      <p:sp>
        <p:nvSpPr>
          <p:cNvPr id="26" name="Name Lower Right">
            <a:extLst>
              <a:ext uri="{FF2B5EF4-FFF2-40B4-BE49-F238E27FC236}">
                <a16:creationId xmlns:a16="http://schemas.microsoft.com/office/drawing/2014/main" id="{54BD4768-21B6-4D49-842F-D57876645FE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100932" y="4437773"/>
            <a:ext cx="5043451" cy="442880"/>
          </a:xfrm>
        </p:spPr>
        <p:txBody>
          <a:bodyPr tIns="0" bIns="0"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1"/>
                </a:solidFill>
              </a:defRPr>
            </a:lvl1pPr>
            <a:lvl2pPr marL="226478" indent="0">
              <a:buNone/>
              <a:defRPr/>
            </a:lvl2pPr>
          </a:lstStyle>
          <a:p>
            <a:pPr lvl="0"/>
            <a:r>
              <a:rPr lang="en-CA" noProof="0"/>
              <a:t>[Add name – remove if not needed]</a:t>
            </a:r>
          </a:p>
        </p:txBody>
      </p:sp>
      <p:sp>
        <p:nvSpPr>
          <p:cNvPr id="27" name="Name Lower Right">
            <a:extLst>
              <a:ext uri="{FF2B5EF4-FFF2-40B4-BE49-F238E27FC236}">
                <a16:creationId xmlns:a16="http://schemas.microsoft.com/office/drawing/2014/main" id="{CA4EF25E-552C-49D0-B47B-772556C074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100932" y="4912391"/>
            <a:ext cx="5043451" cy="294981"/>
          </a:xfrm>
        </p:spPr>
        <p:txBody>
          <a:bodyPr tIns="0" anchor="t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600" b="1" i="0"/>
            </a:lvl1pPr>
            <a:lvl2pPr marL="226478" indent="0">
              <a:buNone/>
              <a:defRPr/>
            </a:lvl2pPr>
          </a:lstStyle>
          <a:p>
            <a:pPr lvl="0"/>
            <a:r>
              <a:rPr lang="en-CA" noProof="0"/>
              <a:t>[Add title / organization / department]</a:t>
            </a:r>
          </a:p>
        </p:txBody>
      </p:sp>
      <p:sp>
        <p:nvSpPr>
          <p:cNvPr id="28" name="Conact Lower Right 1">
            <a:extLst>
              <a:ext uri="{FF2B5EF4-FFF2-40B4-BE49-F238E27FC236}">
                <a16:creationId xmlns:a16="http://schemas.microsoft.com/office/drawing/2014/main" id="{5D827CE8-851C-4BA8-9177-846A4294600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00932" y="5255102"/>
            <a:ext cx="5043451" cy="254863"/>
          </a:xfrm>
        </p:spPr>
        <p:txBody>
          <a:bodyPr anchor="ctr">
            <a:noAutofit/>
          </a:bodyPr>
          <a:lstStyle>
            <a:lvl1pPr marL="0" indent="0">
              <a:buNone/>
              <a:defRPr lang="en-US" sz="1600" dirty="0"/>
            </a:lvl1pPr>
            <a:lvl2pPr marL="226478" indent="0">
              <a:buNone/>
              <a:defRPr/>
            </a:lvl2pPr>
          </a:lstStyle>
          <a:p>
            <a:r>
              <a:rPr lang="en-CA" noProof="0"/>
              <a:t>[Click to add contact info (email/phone]</a:t>
            </a:r>
          </a:p>
        </p:txBody>
      </p:sp>
      <p:sp>
        <p:nvSpPr>
          <p:cNvPr id="29" name="Contact Lower Right 2">
            <a:extLst>
              <a:ext uri="{FF2B5EF4-FFF2-40B4-BE49-F238E27FC236}">
                <a16:creationId xmlns:a16="http://schemas.microsoft.com/office/drawing/2014/main" id="{706A200F-EB1D-4504-8CDB-93E8FF8ED0A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100934" y="5531850"/>
            <a:ext cx="5043452" cy="254863"/>
          </a:xfrm>
        </p:spPr>
        <p:txBody>
          <a:bodyPr anchor="ctr">
            <a:noAutofit/>
          </a:bodyPr>
          <a:lstStyle>
            <a:lvl1pPr marL="0" indent="0">
              <a:buNone/>
              <a:defRPr lang="en-US" sz="1600" dirty="0"/>
            </a:lvl1pPr>
            <a:lvl2pPr marL="226478" indent="0">
              <a:buNone/>
              <a:defRPr/>
            </a:lvl2pPr>
          </a:lstStyle>
          <a:p>
            <a:r>
              <a:rPr lang="en-CA" noProof="0"/>
              <a:t>[Click to add contact info (email/phone) or remove]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7827EF6-2A05-4C00-9DC6-A913B331ABB9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LogoProtection" hidden="1">
            <a:extLst>
              <a:ext uri="{FF2B5EF4-FFF2-40B4-BE49-F238E27FC236}">
                <a16:creationId xmlns:a16="http://schemas.microsoft.com/office/drawing/2014/main" id="{1963E9D8-BF49-4A99-B1DD-B57C5B8B22D9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384960" y="203200"/>
            <a:ext cx="4898240" cy="1435947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0A774CB-73BF-4451-81FD-8A5DE23F4D8E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1D7DB3-E25B-48C5-BDD8-0FB6EF09D4A1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2EFBD07-7C2D-431F-B16D-A443F315D581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1417284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8239D7A7-6316-4AFE-883C-9ECA60F9287C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LogoProtection" hidden="1">
            <a:extLst>
              <a:ext uri="{FF2B5EF4-FFF2-40B4-BE49-F238E27FC236}">
                <a16:creationId xmlns:a16="http://schemas.microsoft.com/office/drawing/2014/main" id="{0F74D7C7-5DD5-41C8-8A05-BD42DCAAC94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824793" y="2142837"/>
            <a:ext cx="8628461" cy="24014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92C0781F-E68A-4C50-8FFA-CF57322DB4C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CB3D12F-37E4-48EF-AD46-F2EE0857D6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2C3E7EA-8518-4729-A6F5-5084E9DD47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8923466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Left">
            <a:extLst>
              <a:ext uri="{FF2B5EF4-FFF2-40B4-BE49-F238E27FC236}">
                <a16:creationId xmlns:a16="http://schemas.microsoft.com/office/drawing/2014/main" id="{09B6FEDA-2CF9-4961-89A9-98C33D422EBD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90538" y="1376716"/>
            <a:ext cx="11207750" cy="5090759"/>
          </a:xfrm>
        </p:spPr>
        <p:txBody>
          <a:bodyPr/>
          <a:lstStyle/>
          <a:p>
            <a:pPr lvl="0"/>
            <a:r>
              <a:rPr lang="en-CA" noProof="0" dirty="0"/>
              <a:t>[Click to add text] 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4ADB06D-65E9-4A3F-83AD-08884BEB47D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90538" y="859809"/>
            <a:ext cx="9625441" cy="330261"/>
          </a:xfrm>
        </p:spPr>
        <p:txBody>
          <a:bodyPr anchor="ctr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 dirty="0"/>
              <a:t>[Click to insert optional 1-row subtitle – or remove]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311E9F5-9C46-4CDD-92FA-14107331D8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063" y="365740"/>
            <a:ext cx="9627837" cy="475488"/>
          </a:xfrm>
        </p:spPr>
        <p:txBody>
          <a:bodyPr/>
          <a:lstStyle/>
          <a:p>
            <a:r>
              <a:rPr lang="en-CA" noProof="0" dirty="0"/>
              <a:t>[Title]</a:t>
            </a:r>
          </a:p>
        </p:txBody>
      </p:sp>
      <p:sp>
        <p:nvSpPr>
          <p:cNvPr id="8" name="LogoProtection" hidden="1">
            <a:extLst>
              <a:ext uri="{FF2B5EF4-FFF2-40B4-BE49-F238E27FC236}">
                <a16:creationId xmlns:a16="http://schemas.microsoft.com/office/drawing/2014/main" id="{BA0F926C-8C42-41B6-B976-564B71F0E0F6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84381EEB-378F-4A76-80CB-ABB9527EB06A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BA6643B-1000-4EAC-A850-05F67B47B20C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6E13F6B-5B4C-48FF-9178-9260EAF6E80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0023068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62568D7A-DB16-420C-A4F5-CB35896AE086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LogoProtection" hidden="1">
            <a:extLst>
              <a:ext uri="{FF2B5EF4-FFF2-40B4-BE49-F238E27FC236}">
                <a16:creationId xmlns:a16="http://schemas.microsoft.com/office/drawing/2014/main" id="{237DA45B-AA9D-40FB-9578-52498E0486E1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824793" y="2142837"/>
            <a:ext cx="8628461" cy="240145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E215D07-5D09-4DDE-A065-02C1FF1C5AD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6FB0EBF-D4C1-4B51-8526-F7AFED0CAE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CA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2AA63D0C-C9F0-4B45-894C-EFAAE97807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349954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~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AD04104-0DD5-4D3B-A91A-727FE0A9B415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3800" b="1" dirty="0"/>
              <a:t>Don’t use layouts after thi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C5B05F-6135-416F-BC9B-4048EE9B39AC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270114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DA8DD16-EE86-214C-5806-A15476246D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1617666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Left">
            <a:extLst>
              <a:ext uri="{FF2B5EF4-FFF2-40B4-BE49-F238E27FC236}">
                <a16:creationId xmlns:a16="http://schemas.microsoft.com/office/drawing/2014/main" id="{C9131D67-B3B8-46BA-A56D-0D18C93EFD45}"/>
              </a:ext>
            </a:extLst>
          </p:cNvPr>
          <p:cNvSpPr>
            <a:spLocks noGrp="1"/>
          </p:cNvSpPr>
          <p:nvPr>
            <p:ph sz="half" idx="1" hasCustomPrompt="1"/>
          </p:nvPr>
        </p:nvSpPr>
        <p:spPr>
          <a:xfrm>
            <a:off x="490537" y="1376716"/>
            <a:ext cx="5422392" cy="5114572"/>
          </a:xfrm>
        </p:spPr>
        <p:txBody>
          <a:bodyPr/>
          <a:lstStyle/>
          <a:p>
            <a:pPr lvl="0"/>
            <a:r>
              <a:rPr lang="en-CA" noProof="0" dirty="0"/>
              <a:t>[Click to add text] 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4" name="Content Placeholder Right">
            <a:extLst>
              <a:ext uri="{FF2B5EF4-FFF2-40B4-BE49-F238E27FC236}">
                <a16:creationId xmlns:a16="http://schemas.microsoft.com/office/drawing/2014/main" id="{D34F768A-C009-46A7-B389-204DEE446EE5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6271385" y="1371600"/>
            <a:ext cx="5422392" cy="5097371"/>
          </a:xfrm>
        </p:spPr>
        <p:txBody>
          <a:bodyPr/>
          <a:lstStyle/>
          <a:p>
            <a:pPr lvl="0"/>
            <a:r>
              <a:rPr lang="en-CA" noProof="0" dirty="0"/>
              <a:t>[Click to add text] 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5403C36E-B39B-46D5-BA5C-2371664B33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</a:t>
            </a:r>
            <a:r>
              <a:rPr lang="en-CA" noProof="0" dirty="0"/>
              <a:t>Title</a:t>
            </a:r>
            <a:r>
              <a:rPr lang="en-US" dirty="0"/>
              <a:t>]</a:t>
            </a:r>
          </a:p>
        </p:txBody>
      </p:sp>
      <p:sp>
        <p:nvSpPr>
          <p:cNvPr id="9" name="LogoProtection" hidden="1">
            <a:extLst>
              <a:ext uri="{FF2B5EF4-FFF2-40B4-BE49-F238E27FC236}">
                <a16:creationId xmlns:a16="http://schemas.microsoft.com/office/drawing/2014/main" id="{D5C1B048-4C37-4D41-8BA9-3FE5954B0C4B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A14581D-DF8A-4334-B9DB-FB0B214B2E0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89FC75F2-9932-42F0-87DD-1D3B606D6D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81FDFEE-7280-4ED0-AEDA-C47CA8B59B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4354627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Left">
            <a:extLst>
              <a:ext uri="{FF2B5EF4-FFF2-40B4-BE49-F238E27FC236}">
                <a16:creationId xmlns:a16="http://schemas.microsoft.com/office/drawing/2014/main" id="{87B9427F-A7EB-4D63-9232-9885CCB2F7B0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494064" y="1378423"/>
            <a:ext cx="5422392" cy="470849"/>
          </a:xfrm>
        </p:spPr>
        <p:txBody>
          <a:bodyPr anchor="t">
            <a:no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noProof="0" dirty="0"/>
              <a:t>[Add subtitle]</a:t>
            </a:r>
          </a:p>
        </p:txBody>
      </p:sp>
      <p:sp>
        <p:nvSpPr>
          <p:cNvPr id="4" name="Content Placeholder Left">
            <a:extLst>
              <a:ext uri="{FF2B5EF4-FFF2-40B4-BE49-F238E27FC236}">
                <a16:creationId xmlns:a16="http://schemas.microsoft.com/office/drawing/2014/main" id="{674CFD47-FD50-464E-A9A9-046E04DC7974}"/>
              </a:ext>
            </a:extLst>
          </p:cNvPr>
          <p:cNvSpPr>
            <a:spLocks noGrp="1"/>
          </p:cNvSpPr>
          <p:nvPr>
            <p:ph sz="half" idx="2" hasCustomPrompt="1"/>
          </p:nvPr>
        </p:nvSpPr>
        <p:spPr>
          <a:xfrm>
            <a:off x="494064" y="1955552"/>
            <a:ext cx="5422392" cy="4532395"/>
          </a:xfrm>
        </p:spPr>
        <p:txBody>
          <a:bodyPr/>
          <a:lstStyle/>
          <a:p>
            <a:pPr lvl="0"/>
            <a:r>
              <a:rPr lang="en-CA" noProof="0" dirty="0"/>
              <a:t>[Click to add text]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5" name="Subtitle Right">
            <a:extLst>
              <a:ext uri="{FF2B5EF4-FFF2-40B4-BE49-F238E27FC236}">
                <a16:creationId xmlns:a16="http://schemas.microsoft.com/office/drawing/2014/main" id="{A22CF141-4F7A-4E31-9E92-113C2B944C6F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75154" y="1378423"/>
            <a:ext cx="5422392" cy="470849"/>
          </a:xfrm>
        </p:spPr>
        <p:txBody>
          <a:bodyPr anchor="t">
            <a:noAutofit/>
          </a:bodyPr>
          <a:lstStyle>
            <a:lvl1pPr marL="0" indent="0">
              <a:buNone/>
              <a:defRPr sz="20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CA" noProof="0" dirty="0"/>
              <a:t>[Add subtitle]</a:t>
            </a:r>
          </a:p>
        </p:txBody>
      </p:sp>
      <p:sp>
        <p:nvSpPr>
          <p:cNvPr id="6" name="Content Placeholder Right">
            <a:extLst>
              <a:ext uri="{FF2B5EF4-FFF2-40B4-BE49-F238E27FC236}">
                <a16:creationId xmlns:a16="http://schemas.microsoft.com/office/drawing/2014/main" id="{0B4717C9-DD2B-415D-BE01-BDC568719558}"/>
              </a:ext>
            </a:extLst>
          </p:cNvPr>
          <p:cNvSpPr>
            <a:spLocks noGrp="1"/>
          </p:cNvSpPr>
          <p:nvPr>
            <p:ph sz="quarter" idx="4" hasCustomPrompt="1"/>
          </p:nvPr>
        </p:nvSpPr>
        <p:spPr>
          <a:xfrm>
            <a:off x="6275154" y="1955552"/>
            <a:ext cx="5422392" cy="4532395"/>
          </a:xfrm>
        </p:spPr>
        <p:txBody>
          <a:bodyPr/>
          <a:lstStyle/>
          <a:p>
            <a:pPr lvl="0"/>
            <a:r>
              <a:rPr lang="en-CA" noProof="0" dirty="0"/>
              <a:t>[Click to add text]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ED7D5739-E9F7-4C22-BC80-26F9332618A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26930E-BE4D-49AF-9F7A-9E4F398FA991}" type="datetime4">
              <a:rPr lang="en-US"/>
              <a:t>October 13, 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D88D375-F956-40B1-BD81-4046FBBD696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876A8CD-5016-42C9-BD70-C6342FE6F6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BA95F92-945A-407F-A507-EA6E765323BF}" type="slidenum">
              <a:rPr lang="en-US"/>
              <a:t>‹#›</a:t>
            </a:fld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754C120-BB4E-43F9-92AD-C110CF9F4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CA" noProof="0" dirty="0"/>
              <a:t>[Title]</a:t>
            </a:r>
          </a:p>
        </p:txBody>
      </p:sp>
      <p:sp>
        <p:nvSpPr>
          <p:cNvPr id="10" name="LogoProtection" hidden="1">
            <a:extLst>
              <a:ext uri="{FF2B5EF4-FFF2-40B4-BE49-F238E27FC236}">
                <a16:creationId xmlns:a16="http://schemas.microsoft.com/office/drawing/2014/main" id="{6D28BEA3-A46B-4920-896C-9BAD8E37D6E7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43808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Boxed Subtit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Left"/>
          <p:cNvSpPr>
            <a:spLocks noGrp="1"/>
          </p:cNvSpPr>
          <p:nvPr>
            <p:ph type="body" sz="quarter" idx="20" hasCustomPrompt="1"/>
          </p:nvPr>
        </p:nvSpPr>
        <p:spPr>
          <a:xfrm>
            <a:off x="490538" y="1379628"/>
            <a:ext cx="5402770" cy="475488"/>
          </a:xfrm>
          <a:solidFill>
            <a:schemeClr val="accent1"/>
          </a:solidFill>
        </p:spPr>
        <p:txBody>
          <a:bodyPr lIns="91440" tIns="91440" rIns="91440" bIns="91440" anchor="ctr"/>
          <a:lstStyle>
            <a:lvl1pPr marL="0" indent="0" algn="l">
              <a:buNone/>
              <a:defRPr sz="2000" b="0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 dirty="0"/>
              <a:t>[Add subtitle and recolor as needed]</a:t>
            </a:r>
          </a:p>
        </p:txBody>
      </p:sp>
      <p:sp>
        <p:nvSpPr>
          <p:cNvPr id="15" name="Subtitle Right"/>
          <p:cNvSpPr>
            <a:spLocks noGrp="1"/>
          </p:cNvSpPr>
          <p:nvPr>
            <p:ph type="body" sz="quarter" idx="21" hasCustomPrompt="1"/>
          </p:nvPr>
        </p:nvSpPr>
        <p:spPr>
          <a:xfrm>
            <a:off x="6298263" y="1379628"/>
            <a:ext cx="5402770" cy="475488"/>
          </a:xfrm>
          <a:solidFill>
            <a:schemeClr val="accent1"/>
          </a:solidFill>
        </p:spPr>
        <p:txBody>
          <a:bodyPr lIns="91440" tIns="91440" rIns="91440" bIns="91440" anchor="ctr"/>
          <a:lstStyle>
            <a:lvl1pPr marL="0" indent="0" algn="l">
              <a:buNone/>
              <a:defRPr sz="2000" b="0" baseline="0">
                <a:solidFill>
                  <a:schemeClr val="bg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 dirty="0"/>
              <a:t>[Add subtitle and recolor as needed]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70B099E5-314D-48B7-A166-A57919050AF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CA" noProof="0" dirty="0"/>
              <a:t>[Title]</a:t>
            </a:r>
          </a:p>
        </p:txBody>
      </p:sp>
      <p:sp>
        <p:nvSpPr>
          <p:cNvPr id="10" name="Content Placeholder Left">
            <a:extLst>
              <a:ext uri="{FF2B5EF4-FFF2-40B4-BE49-F238E27FC236}">
                <a16:creationId xmlns:a16="http://schemas.microsoft.com/office/drawing/2014/main" id="{9DB6A170-2B36-4318-AEC6-5F08C35BCA6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490538" y="1955591"/>
            <a:ext cx="5423245" cy="4535424"/>
          </a:xfrm>
        </p:spPr>
        <p:txBody>
          <a:bodyPr/>
          <a:lstStyle/>
          <a:p>
            <a:pPr lvl="0"/>
            <a:r>
              <a:rPr lang="en-CA" noProof="0" dirty="0"/>
              <a:t>[Click to add text]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13" name="Content Placeholder Right">
            <a:extLst>
              <a:ext uri="{FF2B5EF4-FFF2-40B4-BE49-F238E27FC236}">
                <a16:creationId xmlns:a16="http://schemas.microsoft.com/office/drawing/2014/main" id="{D6211CC5-5897-4135-9121-8B816FDAE364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0625" y="1950800"/>
            <a:ext cx="5424488" cy="4535424"/>
          </a:xfrm>
        </p:spPr>
        <p:txBody>
          <a:bodyPr/>
          <a:lstStyle/>
          <a:p>
            <a:pPr lvl="0"/>
            <a:r>
              <a:rPr lang="en-CA" noProof="0" dirty="0"/>
              <a:t>[Click to add text]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11" name="LogoProtection" hidden="1">
            <a:extLst>
              <a:ext uri="{FF2B5EF4-FFF2-40B4-BE49-F238E27FC236}">
                <a16:creationId xmlns:a16="http://schemas.microsoft.com/office/drawing/2014/main" id="{C0BC7EAA-A864-407F-BA7D-B1E7C8D66553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BF04AFEF-692D-451D-A49B-25258272F794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00361F2-1C88-4345-AC1C-ABD69FF3F2D6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7259B99-89B1-4A09-97E2-97743AF16458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2707406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+ Text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68003B4-4372-4D2A-AA66-3A4E0AA89F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94063" y="365740"/>
            <a:ext cx="9627837" cy="475488"/>
          </a:xfrm>
        </p:spPr>
        <p:txBody>
          <a:bodyPr/>
          <a:lstStyle/>
          <a:p>
            <a:r>
              <a:rPr lang="en-CA" noProof="0" dirty="0"/>
              <a:t>[Title]</a:t>
            </a:r>
          </a:p>
        </p:txBody>
      </p:sp>
      <p:sp>
        <p:nvSpPr>
          <p:cNvPr id="7" name="Text Placeholder Left">
            <a:extLst>
              <a:ext uri="{FF2B5EF4-FFF2-40B4-BE49-F238E27FC236}">
                <a16:creationId xmlns:a16="http://schemas.microsoft.com/office/drawing/2014/main" id="{83E607D4-B85D-4944-99AB-9F7FB2C7F84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" y="1371600"/>
            <a:ext cx="4804012" cy="5120659"/>
          </a:xfrm>
          <a:solidFill>
            <a:schemeClr val="accent1"/>
          </a:solidFill>
        </p:spPr>
        <p:txBody>
          <a:bodyPr lIns="475488" tIns="182880" rIns="182880" bIns="18288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644CEFF1-C7C0-4C07-A655-223E8FA0687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94062" y="859809"/>
            <a:ext cx="9627837" cy="330816"/>
          </a:xfrm>
        </p:spPr>
        <p:txBody>
          <a:bodyPr anchor="ctr">
            <a:noAutofit/>
          </a:bodyPr>
          <a:lstStyle>
            <a:lvl1pPr marL="0" indent="0">
              <a:buNone/>
              <a:defRPr sz="1800">
                <a:solidFill>
                  <a:schemeClr val="accent1"/>
                </a:solidFill>
              </a:defRPr>
            </a:lvl1pPr>
            <a:lvl2pPr marL="0" indent="0">
              <a:buNone/>
              <a:defRPr sz="1800"/>
            </a:lvl2pPr>
            <a:lvl3pPr marL="0" indent="0">
              <a:buNone/>
              <a:defRPr sz="1800"/>
            </a:lvl3pPr>
            <a:lvl4pPr marL="0" indent="0">
              <a:buNone/>
              <a:defRPr sz="1800"/>
            </a:lvl4pPr>
            <a:lvl5pPr marL="0" indent="0">
              <a:buNone/>
              <a:defRPr sz="1800"/>
            </a:lvl5pPr>
          </a:lstStyle>
          <a:p>
            <a:pPr lvl="0"/>
            <a:r>
              <a:rPr lang="en-CA" noProof="0"/>
              <a:t>[Click to insert optional 1-row subtitle – or remove]</a:t>
            </a:r>
          </a:p>
        </p:txBody>
      </p:sp>
      <p:sp>
        <p:nvSpPr>
          <p:cNvPr id="10" name="Content Placeholder Right">
            <a:extLst>
              <a:ext uri="{FF2B5EF4-FFF2-40B4-BE49-F238E27FC236}">
                <a16:creationId xmlns:a16="http://schemas.microsoft.com/office/drawing/2014/main" id="{49F0FD67-9106-4CDF-B5D0-0612F93CE906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906371" y="1371600"/>
            <a:ext cx="6791917" cy="5119688"/>
          </a:xfrm>
        </p:spPr>
        <p:txBody>
          <a:bodyPr lIns="91440" tIns="91440" rIns="91440" bIns="91440"/>
          <a:lstStyle/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  <a:p>
            <a:pPr lvl="3"/>
            <a:r>
              <a:rPr lang="en-CA" noProof="0"/>
              <a:t>Fourth level</a:t>
            </a:r>
          </a:p>
          <a:p>
            <a:pPr lvl="4"/>
            <a:r>
              <a:rPr lang="en-CA" noProof="0"/>
              <a:t>Fifth level</a:t>
            </a:r>
          </a:p>
        </p:txBody>
      </p:sp>
      <p:sp>
        <p:nvSpPr>
          <p:cNvPr id="9" name="LogoProtection" hidden="1">
            <a:extLst>
              <a:ext uri="{FF2B5EF4-FFF2-40B4-BE49-F238E27FC236}">
                <a16:creationId xmlns:a16="http://schemas.microsoft.com/office/drawing/2014/main" id="{5B78D13C-481E-4C69-80A1-97935C6E6BF8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30D78582-4733-4337-B14F-77F13C805E30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85D2AF0E-1710-4785-98E2-7824394433F2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2B54273C-49D4-4BE7-996F-EF54813C6A8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42745481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Right"/>
          <p:cNvSpPr>
            <a:spLocks noGrp="1"/>
          </p:cNvSpPr>
          <p:nvPr>
            <p:ph type="body" sz="quarter" idx="16" hasCustomPrompt="1"/>
          </p:nvPr>
        </p:nvSpPr>
        <p:spPr>
          <a:xfrm>
            <a:off x="8362367" y="2149812"/>
            <a:ext cx="3337560" cy="4342448"/>
          </a:xfrm>
          <a:noFill/>
        </p:spPr>
        <p:txBody>
          <a:bodyPr lIns="91440" tIns="91440" bIns="91440">
            <a:normAutofit/>
          </a:bodyPr>
          <a:lstStyle>
            <a:lvl1pPr>
              <a:defRPr sz="2000" baseline="0"/>
            </a:lvl1pPr>
            <a:lvl2pPr>
              <a:defRPr sz="1800"/>
            </a:lvl2pPr>
            <a:lvl3pPr>
              <a:defRPr sz="18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</p:txBody>
      </p:sp>
      <p:sp>
        <p:nvSpPr>
          <p:cNvPr id="11" name="Text Placeholder Left"/>
          <p:cNvSpPr>
            <a:spLocks noGrp="1"/>
          </p:cNvSpPr>
          <p:nvPr>
            <p:ph type="body" sz="quarter" idx="17" hasCustomPrompt="1"/>
          </p:nvPr>
        </p:nvSpPr>
        <p:spPr>
          <a:xfrm>
            <a:off x="494063" y="2149812"/>
            <a:ext cx="3337560" cy="4342448"/>
          </a:xfrm>
          <a:noFill/>
        </p:spPr>
        <p:txBody>
          <a:bodyPr lIns="91440" tIns="91440" bIns="91440">
            <a:normAutofit/>
          </a:bodyPr>
          <a:lstStyle>
            <a:lvl1pPr>
              <a:defRPr sz="2000" baseline="0"/>
            </a:lvl1pPr>
            <a:lvl2pPr>
              <a:defRPr sz="1800"/>
            </a:lvl2pPr>
            <a:lvl3pPr>
              <a:defRPr sz="18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</p:txBody>
      </p:sp>
      <p:sp>
        <p:nvSpPr>
          <p:cNvPr id="12" name="Text Placeholder Middle"/>
          <p:cNvSpPr>
            <a:spLocks noGrp="1"/>
          </p:cNvSpPr>
          <p:nvPr>
            <p:ph type="body" sz="quarter" idx="18" hasCustomPrompt="1"/>
          </p:nvPr>
        </p:nvSpPr>
        <p:spPr>
          <a:xfrm>
            <a:off x="4500060" y="2149812"/>
            <a:ext cx="3337560" cy="4342448"/>
          </a:xfrm>
          <a:noFill/>
        </p:spPr>
        <p:txBody>
          <a:bodyPr lIns="91440" tIns="91440" bIns="91440"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8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Click to add text]</a:t>
            </a:r>
          </a:p>
          <a:p>
            <a:pPr lvl="1"/>
            <a:r>
              <a:rPr lang="en-CA" noProof="0"/>
              <a:t>Second level</a:t>
            </a:r>
          </a:p>
          <a:p>
            <a:pPr lvl="2"/>
            <a:r>
              <a:rPr lang="en-CA" noProof="0"/>
              <a:t>Third level</a:t>
            </a:r>
          </a:p>
        </p:txBody>
      </p:sp>
      <p:sp>
        <p:nvSpPr>
          <p:cNvPr id="13" name="Subtitle Right"/>
          <p:cNvSpPr>
            <a:spLocks noGrp="1"/>
          </p:cNvSpPr>
          <p:nvPr>
            <p:ph type="body" sz="quarter" idx="19" hasCustomPrompt="1"/>
          </p:nvPr>
        </p:nvSpPr>
        <p:spPr>
          <a:xfrm>
            <a:off x="8362367" y="1371600"/>
            <a:ext cx="3337560" cy="685800"/>
          </a:xfrm>
          <a:noFill/>
        </p:spPr>
        <p:txBody>
          <a:bodyPr lIns="91440" tIns="91440" bIns="91440" anchor="t">
            <a:noAutofit/>
          </a:bodyPr>
          <a:lstStyle>
            <a:lvl1pPr marL="0" indent="0">
              <a:buNone/>
              <a:defRPr sz="2000" b="0">
                <a:solidFill>
                  <a:schemeClr val="tx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Add subtitle]</a:t>
            </a:r>
          </a:p>
        </p:txBody>
      </p:sp>
      <p:sp>
        <p:nvSpPr>
          <p:cNvPr id="14" name="Subtitle Left"/>
          <p:cNvSpPr>
            <a:spLocks noGrp="1"/>
          </p:cNvSpPr>
          <p:nvPr>
            <p:ph type="body" sz="quarter" idx="20" hasCustomPrompt="1"/>
          </p:nvPr>
        </p:nvSpPr>
        <p:spPr>
          <a:xfrm>
            <a:off x="494063" y="1371600"/>
            <a:ext cx="3337560" cy="685800"/>
          </a:xfrm>
          <a:noFill/>
        </p:spPr>
        <p:txBody>
          <a:bodyPr lIns="91440" tIns="91440" bIns="91440" anchor="t">
            <a:noAutofit/>
          </a:bodyPr>
          <a:lstStyle>
            <a:lvl1pPr marL="0" indent="0">
              <a:buNone/>
              <a:defRPr sz="2000" b="0" baseline="0">
                <a:solidFill>
                  <a:schemeClr val="tx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Add subtitle]</a:t>
            </a:r>
          </a:p>
        </p:txBody>
      </p:sp>
      <p:sp>
        <p:nvSpPr>
          <p:cNvPr id="15" name="Subtitle Middle"/>
          <p:cNvSpPr>
            <a:spLocks noGrp="1"/>
          </p:cNvSpPr>
          <p:nvPr>
            <p:ph type="body" sz="quarter" idx="21" hasCustomPrompt="1"/>
          </p:nvPr>
        </p:nvSpPr>
        <p:spPr>
          <a:xfrm>
            <a:off x="4502786" y="1371600"/>
            <a:ext cx="3337560" cy="685800"/>
          </a:xfrm>
          <a:noFill/>
        </p:spPr>
        <p:txBody>
          <a:bodyPr lIns="91440" tIns="91440" bIns="91440" anchor="t">
            <a:noAutofit/>
          </a:bodyPr>
          <a:lstStyle>
            <a:lvl1pPr marL="0" indent="0">
              <a:buNone/>
              <a:defRPr sz="2000" b="0" baseline="0">
                <a:solidFill>
                  <a:schemeClr val="tx1"/>
                </a:solidFill>
              </a:defRPr>
            </a:lvl1pPr>
            <a:lvl2pPr marL="169862" indent="0">
              <a:buNone/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n-CA" noProof="0"/>
              <a:t>[Add subtitle]</a:t>
            </a:r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AF0ABA9D-C8DA-49B7-A188-AF1802C761F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</a:t>
            </a:r>
            <a:r>
              <a:rPr lang="en-CA" noProof="0" dirty="0"/>
              <a:t>Title</a:t>
            </a:r>
            <a:r>
              <a:rPr lang="en-US" dirty="0"/>
              <a:t>]</a:t>
            </a:r>
          </a:p>
        </p:txBody>
      </p:sp>
      <p:sp>
        <p:nvSpPr>
          <p:cNvPr id="16" name="LogoProtection" hidden="1">
            <a:extLst>
              <a:ext uri="{FF2B5EF4-FFF2-40B4-BE49-F238E27FC236}">
                <a16:creationId xmlns:a16="http://schemas.microsoft.com/office/drawing/2014/main" id="{4BFEFF53-A2BB-4E43-8E76-B3D4CBC19572}"/>
              </a:ext>
            </a:extLst>
          </p:cNvPr>
          <p:cNvSpPr/>
          <p:nvPr userDrawn="1">
            <p:custDataLst>
              <p:tags r:id="rId1"/>
            </p:custDataLst>
          </p:nvPr>
        </p:nvSpPr>
        <p:spPr>
          <a:xfrm>
            <a:off x="10688782" y="57177"/>
            <a:ext cx="1453216" cy="47622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A64BD80-597E-429C-AD47-5999A09CD5C6}"/>
              </a:ext>
            </a:extLst>
          </p:cNvPr>
          <p:cNvSpPr>
            <a:spLocks noGrp="1"/>
          </p:cNvSpPr>
          <p:nvPr>
            <p:ph type="dt" sz="half" idx="22"/>
          </p:nvPr>
        </p:nvSpPr>
        <p:spPr/>
        <p:txBody>
          <a:bodyPr/>
          <a:lstStyle/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2D34E9-CEF0-456D-B9B9-786D1D81D3B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CA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20C445A-99E8-4265-B7B5-1514AE10DFC9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</p:spTree>
    <p:extLst>
      <p:ext uri="{BB962C8B-B14F-4D97-AF65-F5344CB8AC3E}">
        <p14:creationId xmlns:p14="http://schemas.microsoft.com/office/powerpoint/2010/main" val="3818354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300">
        <p:fade/>
      </p:transition>
    </mc:Choice>
    <mc:Fallback xmlns="" xmlns:a16="http://schemas.microsoft.com/office/drawing/2014/main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slideLayout" Target="../slideLayouts/slideLayout4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542FA6F-111B-48E6-AE16-46D818D2F0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64" y="365740"/>
            <a:ext cx="9625982" cy="818822"/>
          </a:xfrm>
          <a:prstGeom prst="rect">
            <a:avLst/>
          </a:prstGeom>
        </p:spPr>
        <p:txBody>
          <a:bodyPr vert="horz" lIns="91440" tIns="0" rIns="0" bIns="0" rtlCol="0" anchor="t">
            <a:noAutofit/>
          </a:bodyPr>
          <a:lstStyle/>
          <a:p>
            <a:r>
              <a:rPr lang="en-CA" noProof="0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902796-3AAF-48AC-8689-6ABC321DB3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90537" y="1376716"/>
            <a:ext cx="11207748" cy="5114572"/>
          </a:xfrm>
          <a:prstGeom prst="rect">
            <a:avLst/>
          </a:prstGeom>
        </p:spPr>
        <p:txBody>
          <a:bodyPr vert="horz" lIns="91440" tIns="91440" rIns="91440" bIns="91440" rtlCol="0">
            <a:noAutofit/>
          </a:bodyPr>
          <a:lstStyle/>
          <a:p>
            <a:pPr lvl="0"/>
            <a:r>
              <a:rPr lang="en-CA" noProof="0" dirty="0"/>
              <a:t>Click to edit Master text styles</a:t>
            </a:r>
          </a:p>
          <a:p>
            <a:pPr lvl="1"/>
            <a:r>
              <a:rPr lang="en-CA" noProof="0" dirty="0"/>
              <a:t>Second level</a:t>
            </a:r>
          </a:p>
          <a:p>
            <a:pPr lvl="2"/>
            <a:r>
              <a:rPr lang="en-CA" noProof="0" dirty="0"/>
              <a:t>Third level</a:t>
            </a:r>
          </a:p>
          <a:p>
            <a:pPr lvl="3"/>
            <a:r>
              <a:rPr lang="en-CA" noProof="0" dirty="0"/>
              <a:t>Fourth level</a:t>
            </a:r>
          </a:p>
          <a:p>
            <a:pPr lvl="4"/>
            <a:r>
              <a:rPr lang="en-CA" noProof="0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64A6F7D-F583-4BC0-8843-DDCEBEEB5AE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497540" y="6584572"/>
            <a:ext cx="1857040" cy="1591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2"/>
                </a:solidFill>
              </a:defRPr>
            </a:lvl1pPr>
          </a:lstStyle>
          <a:p>
            <a:fld id="{4C135C20-6796-4BC0-AEB2-C192DBF65E28}" type="datetime4">
              <a:rPr lang="en-CA"/>
              <a:pPr/>
              <a:t>October 13, 2023</a:t>
            </a:fld>
            <a:endParaRPr lang="en-CA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B06941-52F8-4D86-9F3A-269004970C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584572"/>
            <a:ext cx="5598459" cy="1591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endParaRPr lang="en-CA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09B763-93C9-44AA-9F36-7A63355CB4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775004" y="6584572"/>
            <a:ext cx="346213" cy="159124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1000">
                <a:solidFill>
                  <a:schemeClr val="tx2"/>
                </a:solidFill>
              </a:defRPr>
            </a:lvl1pPr>
          </a:lstStyle>
          <a:p>
            <a:fld id="{8BA95F92-945A-407F-A507-EA6E765323BF}" type="slidenum">
              <a:rPr lang="en-CA"/>
              <a:pPr/>
              <a:t>‹#›</a:t>
            </a:fld>
            <a:endParaRPr lang="en-CA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CAAC71DC-D5A9-4F7B-82F7-26A5385B9D3D}"/>
              </a:ext>
            </a:extLst>
          </p:cNvPr>
          <p:cNvSpPr/>
          <p:nvPr/>
        </p:nvSpPr>
        <p:spPr>
          <a:xfrm>
            <a:off x="10275872" y="0"/>
            <a:ext cx="1916127" cy="711861"/>
          </a:xfrm>
          <a:prstGeom prst="rect">
            <a:avLst/>
          </a:prstGeom>
          <a:noFill/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087EEC-1471-40E3-9242-2DE3D44387CD}"/>
              </a:ext>
            </a:extLst>
          </p:cNvPr>
          <p:cNvSpPr/>
          <p:nvPr userDrawn="1"/>
        </p:nvSpPr>
        <p:spPr>
          <a:xfrm>
            <a:off x="12270377" y="0"/>
            <a:ext cx="2238103" cy="68580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7" name="empower - DO NOT DELETE!!!" hidden="1">
            <a:extLst>
              <a:ext uri="{FF2B5EF4-FFF2-40B4-BE49-F238E27FC236}">
                <a16:creationId xmlns:a16="http://schemas.microsoft.com/office/drawing/2014/main" id="{25D8A7BF-E6C1-4FF2-886F-AA872A171D0C}"/>
              </a:ext>
            </a:extLst>
          </p:cNvPr>
          <p:cNvSpPr/>
          <p:nvPr userDrawn="1">
            <p:custDataLst>
              <p:tags r:id="rId44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318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94" r:id="rId3"/>
    <p:sldLayoutId id="2147483681" r:id="rId4"/>
    <p:sldLayoutId id="2147483671" r:id="rId5"/>
    <p:sldLayoutId id="2147483672" r:id="rId6"/>
    <p:sldLayoutId id="2147483693" r:id="rId7"/>
    <p:sldLayoutId id="2147483696" r:id="rId8"/>
    <p:sldLayoutId id="2147483691" r:id="rId9"/>
    <p:sldLayoutId id="2147483692" r:id="rId10"/>
    <p:sldLayoutId id="2147483675" r:id="rId11"/>
    <p:sldLayoutId id="2147483673" r:id="rId12"/>
    <p:sldLayoutId id="2147483674" r:id="rId13"/>
    <p:sldLayoutId id="2147483709" r:id="rId14"/>
    <p:sldLayoutId id="2147483690" r:id="rId15"/>
    <p:sldLayoutId id="2147483705" r:id="rId16"/>
    <p:sldLayoutId id="2147483702" r:id="rId17"/>
    <p:sldLayoutId id="2147483703" r:id="rId18"/>
    <p:sldLayoutId id="2147483716" r:id="rId19"/>
    <p:sldLayoutId id="2147483712" r:id="rId20"/>
    <p:sldLayoutId id="2147483713" r:id="rId21"/>
    <p:sldLayoutId id="2147483714" r:id="rId22"/>
    <p:sldLayoutId id="2147483715" r:id="rId23"/>
    <p:sldLayoutId id="2147483711" r:id="rId24"/>
    <p:sldLayoutId id="2147483676" r:id="rId25"/>
    <p:sldLayoutId id="2147483686" r:id="rId26"/>
    <p:sldLayoutId id="2147483707" r:id="rId27"/>
    <p:sldLayoutId id="2147483685" r:id="rId28"/>
    <p:sldLayoutId id="2147483708" r:id="rId29"/>
    <p:sldLayoutId id="2147483700" r:id="rId30"/>
    <p:sldLayoutId id="2147483710" r:id="rId31"/>
    <p:sldLayoutId id="2147483717" r:id="rId32"/>
    <p:sldLayoutId id="2147483706" r:id="rId33"/>
    <p:sldLayoutId id="2147483718" r:id="rId34"/>
    <p:sldLayoutId id="2147483670" r:id="rId35"/>
    <p:sldLayoutId id="2147483687" r:id="rId36"/>
    <p:sldLayoutId id="2147483701" r:id="rId37"/>
    <p:sldLayoutId id="2147483699" r:id="rId38"/>
    <p:sldLayoutId id="2147483679" r:id="rId39"/>
    <p:sldLayoutId id="2147483689" r:id="rId40"/>
    <p:sldLayoutId id="2147483697" r:id="rId41"/>
    <p:sldLayoutId id="2147483719" r:id="rId4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9" orient="horz" pos="4089" userDrawn="1">
          <p15:clr>
            <a:srgbClr val="F26B43"/>
          </p15:clr>
        </p15:guide>
        <p15:guide id="10" pos="7369" userDrawn="1">
          <p15:clr>
            <a:srgbClr val="F26B43"/>
          </p15:clr>
        </p15:guide>
        <p15:guide id="11" pos="309" userDrawn="1">
          <p15:clr>
            <a:srgbClr val="F26B43"/>
          </p15:clr>
        </p15:guide>
        <p15:guide id="12" orient="horz" pos="229" userDrawn="1">
          <p15:clr>
            <a:srgbClr val="A4A3A4"/>
          </p15:clr>
        </p15:guide>
        <p15:guide id="13" orient="horz" pos="449" userDrawn="1">
          <p15:clr>
            <a:srgbClr val="F26B43"/>
          </p15:clr>
        </p15:guide>
        <p15:guide id="14" pos="6376" userDrawn="1">
          <p15:clr>
            <a:srgbClr val="A4A3A4"/>
          </p15:clr>
        </p15:guide>
        <p15:guide id="15" orient="horz" pos="864" userDrawn="1">
          <p15:clr>
            <a:srgbClr val="F26B43"/>
          </p15:clr>
        </p15:guide>
        <p15:guide id="16" pos="3839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F5F0AB-A9C5-D005-3ABA-AE860808DC5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04467" y="1889968"/>
            <a:ext cx="10360960" cy="2631317"/>
          </a:xfrm>
        </p:spPr>
        <p:txBody>
          <a:bodyPr/>
          <a:lstStyle/>
          <a:p>
            <a:r>
              <a:rPr lang="en-CA" b="1" dirty="0"/>
              <a:t>7</a:t>
            </a:r>
            <a:r>
              <a:rPr lang="en-CA" b="1" baseline="30000" dirty="0"/>
              <a:t>th</a:t>
            </a:r>
            <a:r>
              <a:rPr lang="en-CA" b="1" dirty="0"/>
              <a:t> Annual Electricity Workshop</a:t>
            </a:r>
            <a:br>
              <a:rPr lang="en-CA" b="1" dirty="0"/>
            </a:br>
            <a:br>
              <a:rPr lang="en-CA" dirty="0"/>
            </a:br>
            <a:r>
              <a:rPr lang="en-US" sz="4000" dirty="0"/>
              <a:t>Decarbonization policies and innovations in utility rate design</a:t>
            </a:r>
            <a:endParaRPr lang="en-CA" sz="4000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018235DC-1B33-E94D-9967-15E75F594FF5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CA" b="1" dirty="0"/>
              <a:t>Wendy Franks</a:t>
            </a:r>
            <a:r>
              <a:rPr lang="en-CA" dirty="0"/>
              <a:t>, Grid Council Member and Co-Founder of Canadian Pt2X Development Partners</a:t>
            </a:r>
          </a:p>
          <a:p>
            <a:r>
              <a:rPr lang="en-CA" i="1" dirty="0"/>
              <a:t>October 16, 2023</a:t>
            </a:r>
          </a:p>
        </p:txBody>
      </p:sp>
    </p:spTree>
    <p:extLst>
      <p:ext uri="{BB962C8B-B14F-4D97-AF65-F5344CB8AC3E}">
        <p14:creationId xmlns:p14="http://schemas.microsoft.com/office/powerpoint/2010/main" val="273986024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926FA38F-FB6D-98A7-6221-920720FC602E}"/>
              </a:ext>
            </a:extLst>
          </p:cNvPr>
          <p:cNvSpPr txBox="1">
            <a:spLocks/>
          </p:cNvSpPr>
          <p:nvPr/>
        </p:nvSpPr>
        <p:spPr>
          <a:xfrm>
            <a:off x="494064" y="953636"/>
            <a:ext cx="10652445" cy="1415435"/>
          </a:xfrm>
          <a:prstGeom prst="rect">
            <a:avLst/>
          </a:prstGeom>
        </p:spPr>
        <p:txBody>
          <a:bodyPr vert="horz" lIns="91440" tIns="91440" rIns="91440" bIns="91440" rtlCol="0" anchor="t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2400" dirty="0"/>
              <a:t>Among the G7, Canada ranks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CA" sz="2400" b="0" dirty="0"/>
              <a:t>#1</a:t>
            </a:r>
            <a:r>
              <a:rPr lang="en-CA" sz="2400" b="0" baseline="30000" dirty="0"/>
              <a:t> </a:t>
            </a:r>
            <a:r>
              <a:rPr lang="en-CA" sz="2400" b="0" dirty="0"/>
              <a:t>in renewable generation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CA" sz="2400" b="0" dirty="0"/>
              <a:t>#2 in decarbonized generation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243870E4-EB4C-4215-B4A1-C09758C2714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38885041"/>
              </p:ext>
            </p:extLst>
          </p:nvPr>
        </p:nvGraphicFramePr>
        <p:xfrm>
          <a:off x="455487" y="2788115"/>
          <a:ext cx="11281026" cy="39636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6EEAA5C8-9E00-2700-2B16-8DAD23265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64" y="365740"/>
            <a:ext cx="9625982" cy="818822"/>
          </a:xfrm>
        </p:spPr>
        <p:txBody>
          <a:bodyPr anchor="t">
            <a:normAutofit/>
          </a:bodyPr>
          <a:lstStyle/>
          <a:p>
            <a:r>
              <a:rPr lang="en-CA" dirty="0"/>
              <a:t>Level of Grid Decarbonization – G7 Nation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390585CA-0076-8099-123F-AFACAA1659E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75710" y="3039780"/>
            <a:ext cx="357095" cy="179014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EDAC962-6603-AFDE-66EC-84C7C7BF9836}"/>
              </a:ext>
            </a:extLst>
          </p:cNvPr>
          <p:cNvSpPr txBox="1"/>
          <p:nvPr/>
        </p:nvSpPr>
        <p:spPr>
          <a:xfrm>
            <a:off x="8683604" y="2959213"/>
            <a:ext cx="15618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chemeClr val="bg1"/>
                </a:solidFill>
              </a:rPr>
              <a:t>15% Nuclear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3B814F7-8BF3-95F3-B271-A2F806AFE9EF}"/>
              </a:ext>
            </a:extLst>
          </p:cNvPr>
          <p:cNvSpPr txBox="1"/>
          <p:nvPr/>
        </p:nvSpPr>
        <p:spPr>
          <a:xfrm>
            <a:off x="195942" y="6583720"/>
            <a:ext cx="448491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100" baseline="30000" dirty="0">
                <a:solidFill>
                  <a:schemeClr val="bg1">
                    <a:lumMod val="65000"/>
                  </a:schemeClr>
                </a:solidFill>
              </a:rPr>
              <a:t>1 </a:t>
            </a:r>
            <a:r>
              <a:rPr lang="en-CA" sz="1100" dirty="0">
                <a:solidFill>
                  <a:schemeClr val="bg1">
                    <a:lumMod val="65000"/>
                  </a:schemeClr>
                </a:solidFill>
              </a:rPr>
              <a:t>Source: BNEF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D95C020-5BA6-6CD0-1574-A38BE407E454}"/>
              </a:ext>
            </a:extLst>
          </p:cNvPr>
          <p:cNvSpPr txBox="1"/>
          <p:nvPr/>
        </p:nvSpPr>
        <p:spPr>
          <a:xfrm>
            <a:off x="4845291" y="2960268"/>
            <a:ext cx="229231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chemeClr val="bg1"/>
                </a:solidFill>
              </a:rPr>
              <a:t>68% renewable generation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F4AEC4F-1FD6-06B6-70C5-61C60D1CF555}"/>
              </a:ext>
            </a:extLst>
          </p:cNvPr>
          <p:cNvSpPr txBox="1"/>
          <p:nvPr/>
        </p:nvSpPr>
        <p:spPr>
          <a:xfrm>
            <a:off x="9965579" y="2959213"/>
            <a:ext cx="156183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dirty="0">
                <a:solidFill>
                  <a:schemeClr val="bg1"/>
                </a:solidFill>
              </a:rPr>
              <a:t>16% Fossil Fuel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218DDC2-2775-D6A8-C18F-D2A88A45AAF0}"/>
              </a:ext>
            </a:extLst>
          </p:cNvPr>
          <p:cNvSpPr/>
          <p:nvPr/>
        </p:nvSpPr>
        <p:spPr>
          <a:xfrm>
            <a:off x="555231" y="2462884"/>
            <a:ext cx="10872436" cy="3483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/>
              <a:t>2021 Generation Transition Investment History</a:t>
            </a:r>
            <a:r>
              <a:rPr lang="en-CA" b="1" baseline="300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7045669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7A6E95CC-EC37-836F-B05C-01F36DBF845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85183" y="1076312"/>
            <a:ext cx="3635374" cy="1709738"/>
          </a:xfrm>
        </p:spPr>
        <p:txBody>
          <a:bodyPr/>
          <a:lstStyle/>
          <a:p>
            <a:pPr marL="0" indent="0">
              <a:buNone/>
            </a:pPr>
            <a:r>
              <a:rPr lang="en-CA" dirty="0"/>
              <a:t>Canada has a leading credit rating in the G7 (tied with Germany)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385E0C2A-B5F8-EEFD-4F4D-C9AE06F4483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355" y="363538"/>
            <a:ext cx="10812462" cy="818822"/>
          </a:xfrm>
        </p:spPr>
        <p:txBody>
          <a:bodyPr/>
          <a:lstStyle/>
          <a:p>
            <a:r>
              <a:rPr lang="en-CA" sz="2800" dirty="0"/>
              <a:t>Credit Scores and Credit Default Spreads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5397B57D-6449-E04B-967A-2986D30A836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6635384"/>
              </p:ext>
            </p:extLst>
          </p:nvPr>
        </p:nvGraphicFramePr>
        <p:xfrm>
          <a:off x="963301" y="2384854"/>
          <a:ext cx="3488441" cy="3693964"/>
        </p:xfrm>
        <a:graphic>
          <a:graphicData uri="http://schemas.openxmlformats.org/drawingml/2006/table">
            <a:tbl>
              <a:tblPr firstRow="1" firstCol="1" bandRow="1">
                <a:tableStyleId>{F2DE63D5-997A-4646-A377-4702673A728D}</a:tableStyleId>
              </a:tblPr>
              <a:tblGrid>
                <a:gridCol w="1743940">
                  <a:extLst>
                    <a:ext uri="{9D8B030D-6E8A-4147-A177-3AD203B41FA5}">
                      <a16:colId xmlns:a16="http://schemas.microsoft.com/office/drawing/2014/main" val="1635249419"/>
                    </a:ext>
                  </a:extLst>
                </a:gridCol>
                <a:gridCol w="1744501">
                  <a:extLst>
                    <a:ext uri="{9D8B030D-6E8A-4147-A177-3AD203B41FA5}">
                      <a16:colId xmlns:a16="http://schemas.microsoft.com/office/drawing/2014/main" val="1381448681"/>
                    </a:ext>
                  </a:extLst>
                </a:gridCol>
              </a:tblGrid>
              <a:tr h="4158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lt1"/>
                          </a:solidFill>
                          <a:effectLst/>
                        </a:rPr>
                        <a:t>Country</a:t>
                      </a:r>
                      <a:endParaRPr lang="en-CA" sz="1600" kern="100" baseline="0" dirty="0">
                        <a:solidFill>
                          <a:schemeClr val="lt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6350" cap="flat" cmpd="sng" algn="ctr">
                      <a:solidFill>
                        <a:schemeClr val="dk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lt1"/>
                          </a:solidFill>
                          <a:effectLst/>
                        </a:rPr>
                        <a:t>S&amp;P Rating</a:t>
                      </a:r>
                      <a:endParaRPr lang="en-CA" sz="1600" kern="100" baseline="0" dirty="0">
                        <a:solidFill>
                          <a:schemeClr val="lt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T w="6350" cap="flat" cmpd="sng" algn="ctr">
                      <a:solidFill>
                        <a:schemeClr val="dk1"/>
                      </a:solidFill>
                      <a:prstDash val="solid"/>
                      <a:miter lim="800000"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88502123"/>
                  </a:ext>
                </a:extLst>
              </a:tr>
              <a:tr h="4057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nada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AA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39145903"/>
                  </a:ext>
                </a:extLst>
              </a:tr>
              <a:tr h="4057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rmany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AA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5835110"/>
                  </a:ext>
                </a:extLst>
              </a:tr>
              <a:tr h="4057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rance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AA-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64859312"/>
                  </a:ext>
                </a:extLst>
              </a:tr>
              <a:tr h="4057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SA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A+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2425520"/>
                  </a:ext>
                </a:extLst>
              </a:tr>
              <a:tr h="8437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United Kingdom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A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56357063"/>
                  </a:ext>
                </a:extLst>
              </a:tr>
              <a:tr h="4057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apan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+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06596576"/>
                  </a:ext>
                </a:extLst>
              </a:tr>
              <a:tr h="40574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taly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CA" sz="1600" kern="1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BB-</a:t>
                      </a:r>
                      <a:endParaRPr lang="en-CA" sz="1600" kern="100" baseline="0" dirty="0">
                        <a:solidFill>
                          <a:schemeClr val="tx1"/>
                        </a:solidFill>
                        <a:effectLst/>
                        <a:latin typeface="+mn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90187283"/>
                  </a:ext>
                </a:extLst>
              </a:tr>
            </a:tbl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1C515669-B2CF-CDA7-0362-A803FF5E3DA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70896" y="2886424"/>
            <a:ext cx="468467" cy="234846"/>
          </a:xfrm>
          <a:prstGeom prst="rect">
            <a:avLst/>
          </a:prstGeom>
        </p:spPr>
      </p:pic>
      <p:sp>
        <p:nvSpPr>
          <p:cNvPr id="12" name="Content Placeholder 1">
            <a:extLst>
              <a:ext uri="{FF2B5EF4-FFF2-40B4-BE49-F238E27FC236}">
                <a16:creationId xmlns:a16="http://schemas.microsoft.com/office/drawing/2014/main" id="{349A223A-E3D1-17E2-09A5-8A677AFB4FD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404332" y="1076312"/>
            <a:ext cx="7349215" cy="3039747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CA" dirty="0"/>
              <a:t>Canada’s CDS spreads are competitive within the developed world, reflecting a low level of financing risk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B87EC1D-5A0A-FB9D-8750-150B9E7223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974039"/>
              </p:ext>
            </p:extLst>
          </p:nvPr>
        </p:nvGraphicFramePr>
        <p:xfrm>
          <a:off x="4543113" y="2779800"/>
          <a:ext cx="6086785" cy="3299016"/>
        </p:xfrm>
        <a:graphic>
          <a:graphicData uri="http://schemas.openxmlformats.org/drawingml/2006/table">
            <a:tbl>
              <a:tblPr firstRow="1" bandRow="1"/>
              <a:tblGrid>
                <a:gridCol w="3053104">
                  <a:extLst>
                    <a:ext uri="{9D8B030D-6E8A-4147-A177-3AD203B41FA5}">
                      <a16:colId xmlns:a16="http://schemas.microsoft.com/office/drawing/2014/main" val="3311044505"/>
                    </a:ext>
                  </a:extLst>
                </a:gridCol>
                <a:gridCol w="1810560">
                  <a:extLst>
                    <a:ext uri="{9D8B030D-6E8A-4147-A177-3AD203B41FA5}">
                      <a16:colId xmlns:a16="http://schemas.microsoft.com/office/drawing/2014/main" val="405060934"/>
                    </a:ext>
                  </a:extLst>
                </a:gridCol>
                <a:gridCol w="1223121">
                  <a:extLst>
                    <a:ext uri="{9D8B030D-6E8A-4147-A177-3AD203B41FA5}">
                      <a16:colId xmlns:a16="http://schemas.microsoft.com/office/drawing/2014/main" val="1087752501"/>
                    </a:ext>
                  </a:extLst>
                </a:gridCol>
              </a:tblGrid>
              <a:tr h="302876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 Country</a:t>
                      </a:r>
                    </a:p>
                  </a:txBody>
                  <a:tcPr marL="6307" marR="6307" marT="6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Current Spread</a:t>
                      </a:r>
                    </a:p>
                  </a:txBody>
                  <a:tcPr marL="6307" marR="6307" marT="6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1" i="0" u="none" strike="noStrike" dirty="0">
                          <a:solidFill>
                            <a:srgbClr val="FFFFFF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Y Avg</a:t>
                      </a:r>
                    </a:p>
                  </a:txBody>
                  <a:tcPr marL="6307" marR="6307" marT="63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0808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5714679"/>
                  </a:ext>
                </a:extLst>
              </a:tr>
              <a:tr h="299614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Italy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93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07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49331644"/>
                  </a:ext>
                </a:extLst>
              </a:tr>
              <a:tr h="299614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Israel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9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0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67107354"/>
                  </a:ext>
                </a:extLst>
              </a:tr>
              <a:tr h="299614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Spain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53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6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40248901"/>
                  </a:ext>
                </a:extLst>
              </a:tr>
              <a:tr h="299614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United States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43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3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7218063"/>
                  </a:ext>
                </a:extLst>
              </a:tr>
              <a:tr h="299614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Canada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4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9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6869077"/>
                  </a:ext>
                </a:extLst>
              </a:tr>
              <a:tr h="299614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United Kingdom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31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0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9729677"/>
                  </a:ext>
                </a:extLst>
              </a:tr>
              <a:tr h="299614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France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8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48910696"/>
                  </a:ext>
                </a:extLst>
              </a:tr>
              <a:tr h="299614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Australia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7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4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8724491"/>
                  </a:ext>
                </a:extLst>
              </a:tr>
              <a:tr h="299614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Japan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2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21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64175876"/>
                  </a:ext>
                </a:extLst>
              </a:tr>
              <a:tr h="299614">
                <a:tc>
                  <a:txBody>
                    <a:bodyPr/>
                    <a:lstStyle/>
                    <a:p>
                      <a:pPr algn="l" fontAlgn="b"/>
                      <a:r>
                        <a:rPr lang="en-CA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 Germany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6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C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  <a:cs typeface="Calibri" panose="020F0502020204030204" pitchFamily="34" charset="0"/>
                        </a:rPr>
                        <a:t>14</a:t>
                      </a:r>
                    </a:p>
                  </a:txBody>
                  <a:tcPr marL="6307" marR="6307" marT="6307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5714539"/>
                  </a:ext>
                </a:extLst>
              </a:tr>
            </a:tbl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DCA3A204-EF04-49E5-B22B-CD2159517889}"/>
              </a:ext>
            </a:extLst>
          </p:cNvPr>
          <p:cNvSpPr/>
          <p:nvPr/>
        </p:nvSpPr>
        <p:spPr>
          <a:xfrm>
            <a:off x="4535910" y="2377400"/>
            <a:ext cx="6102781" cy="437569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sz="1600" b="1" dirty="0"/>
              <a:t>CDS Spreads in Select Developed Economies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4DAC763F-E434-F617-CE9B-415C4FF3AA2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68863" y="4337442"/>
            <a:ext cx="378629" cy="189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7851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A00744A-3E62-40D0-BC6B-97E14B24D5A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94064" y="884561"/>
            <a:ext cx="10548429" cy="212507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CA" dirty="0"/>
              <a:t>Investment required to meet energy transition ambitions by 2050</a:t>
            </a:r>
          </a:p>
          <a:p>
            <a:pPr lvl="1"/>
            <a:r>
              <a:rPr lang="en-CA" dirty="0"/>
              <a:t>Estimates for the cost of the energy transition typically range from $1 – 2 trillion</a:t>
            </a:r>
          </a:p>
          <a:p>
            <a:pPr lvl="1"/>
            <a:r>
              <a:rPr lang="en-CA" dirty="0"/>
              <a:t>Canada’s 2022 budget: </a:t>
            </a:r>
            <a:r>
              <a:rPr lang="en-CA" b="1" dirty="0"/>
              <a:t>$125-140 Billion </a:t>
            </a:r>
            <a:r>
              <a:rPr lang="en-CA" dirty="0"/>
              <a:t>of annual investment required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3A72C3-1274-4EA9-9935-1A6CB85444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64" y="365740"/>
            <a:ext cx="9625982" cy="818822"/>
          </a:xfrm>
        </p:spPr>
        <p:txBody>
          <a:bodyPr anchor="t">
            <a:normAutofit/>
          </a:bodyPr>
          <a:lstStyle/>
          <a:p>
            <a:r>
              <a:rPr lang="en-CA" dirty="0"/>
              <a:t>Capital for Energy Transition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797BC8B-50C9-0B99-289D-198C9B778136}"/>
              </a:ext>
            </a:extLst>
          </p:cNvPr>
          <p:cNvSpPr/>
          <p:nvPr/>
        </p:nvSpPr>
        <p:spPr>
          <a:xfrm>
            <a:off x="494064" y="2032748"/>
            <a:ext cx="10872436" cy="34834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CA" b="1" dirty="0"/>
              <a:t>Canadian Energy Transition Investment History</a:t>
            </a:r>
            <a:r>
              <a:rPr lang="en-CA" b="1" baseline="30000" dirty="0"/>
              <a:t>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706B877-EE8D-99F8-9D25-918CF601F6E8}"/>
              </a:ext>
            </a:extLst>
          </p:cNvPr>
          <p:cNvSpPr txBox="1"/>
          <p:nvPr/>
        </p:nvSpPr>
        <p:spPr>
          <a:xfrm>
            <a:off x="490538" y="6609988"/>
            <a:ext cx="448491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aseline="30000" dirty="0">
                <a:solidFill>
                  <a:schemeClr val="dk1"/>
                </a:solidFill>
              </a:rPr>
              <a:t>1 </a:t>
            </a:r>
            <a:r>
              <a:rPr lang="en-CA" sz="1200" dirty="0">
                <a:solidFill>
                  <a:schemeClr val="dk1"/>
                </a:solidFill>
              </a:rPr>
              <a:t>Source: BNEF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29A9EE86-FEE8-43BF-ADF2-C6E0FB2BC9B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1905342"/>
              </p:ext>
            </p:extLst>
          </p:nvPr>
        </p:nvGraphicFramePr>
        <p:xfrm>
          <a:off x="685800" y="2414302"/>
          <a:ext cx="10579100" cy="2627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99B7405C-C26B-2E66-FECD-B0E98149788D}"/>
              </a:ext>
            </a:extLst>
          </p:cNvPr>
          <p:cNvSpPr txBox="1">
            <a:spLocks/>
          </p:cNvSpPr>
          <p:nvPr/>
        </p:nvSpPr>
        <p:spPr>
          <a:xfrm>
            <a:off x="485826" y="5111725"/>
            <a:ext cx="10548429" cy="1330266"/>
          </a:xfrm>
          <a:prstGeom prst="rect">
            <a:avLst/>
          </a:prstGeom>
        </p:spPr>
        <p:txBody>
          <a:bodyPr vert="horz" lIns="91440" tIns="91440" rIns="91440" bIns="9144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14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CA" dirty="0"/>
              <a:t>Disaggregate the cost for the energy transition into two components: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CA" dirty="0"/>
              <a:t>	1. Investment required to decarbonize the grid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en-CA" dirty="0"/>
              <a:t>	2. Investment required to electrify the economy</a:t>
            </a:r>
          </a:p>
          <a:p>
            <a:endParaRPr lang="en-CA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446078C-58F9-6ED3-4527-C17BDC157167}"/>
              </a:ext>
            </a:extLst>
          </p:cNvPr>
          <p:cNvCxnSpPr/>
          <p:nvPr/>
        </p:nvCxnSpPr>
        <p:spPr>
          <a:xfrm>
            <a:off x="485826" y="5041558"/>
            <a:ext cx="10880674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4036807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2">
            <a:extLst>
              <a:ext uri="{FF2B5EF4-FFF2-40B4-BE49-F238E27FC236}">
                <a16:creationId xmlns:a16="http://schemas.microsoft.com/office/drawing/2014/main" id="{3C40D289-D444-4BA7-BE31-DCF181A657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64" y="365740"/>
            <a:ext cx="9625982" cy="492406"/>
          </a:xfrm>
        </p:spPr>
        <p:txBody>
          <a:bodyPr/>
          <a:lstStyle/>
          <a:p>
            <a:r>
              <a:rPr lang="en-CA" sz="2800" dirty="0"/>
              <a:t>Estimated Cost of Decarbonization</a:t>
            </a:r>
            <a:endParaRPr lang="en-CA" dirty="0"/>
          </a:p>
        </p:txBody>
      </p:sp>
      <p:sp>
        <p:nvSpPr>
          <p:cNvPr id="3" name="MIO_TEXTBOX_HEADER">
            <a:extLst>
              <a:ext uri="{FF2B5EF4-FFF2-40B4-BE49-F238E27FC236}">
                <a16:creationId xmlns:a16="http://schemas.microsoft.com/office/drawing/2014/main" id="{C1315544-4203-6010-F67F-E0A453BCE595}"/>
              </a:ext>
            </a:extLst>
          </p:cNvPr>
          <p:cNvSpPr/>
          <p:nvPr/>
        </p:nvSpPr>
        <p:spPr>
          <a:xfrm>
            <a:off x="567981" y="890012"/>
            <a:ext cx="11204221" cy="548405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0"/>
          <a:lstStyle/>
          <a:p>
            <a:endParaRPr lang="en-CA" sz="1600">
              <a:solidFill>
                <a:srgbClr val="0075C9"/>
              </a:solidFill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E31AD4B-F58F-028D-FC97-B0446714C41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1610619"/>
              </p:ext>
            </p:extLst>
          </p:nvPr>
        </p:nvGraphicFramePr>
        <p:xfrm>
          <a:off x="589332" y="3386009"/>
          <a:ext cx="10992613" cy="2054769"/>
        </p:xfrm>
        <a:graphic>
          <a:graphicData uri="http://schemas.openxmlformats.org/drawingml/2006/table">
            <a:tbl>
              <a:tblPr firstRow="1" bandRow="1"/>
              <a:tblGrid>
                <a:gridCol w="4828531">
                  <a:extLst>
                    <a:ext uri="{9D8B030D-6E8A-4147-A177-3AD203B41FA5}">
                      <a16:colId xmlns:a16="http://schemas.microsoft.com/office/drawing/2014/main" val="2794177279"/>
                    </a:ext>
                  </a:extLst>
                </a:gridCol>
                <a:gridCol w="2542684">
                  <a:extLst>
                    <a:ext uri="{9D8B030D-6E8A-4147-A177-3AD203B41FA5}">
                      <a16:colId xmlns:a16="http://schemas.microsoft.com/office/drawing/2014/main" val="3606253536"/>
                    </a:ext>
                  </a:extLst>
                </a:gridCol>
                <a:gridCol w="3621398">
                  <a:extLst>
                    <a:ext uri="{9D8B030D-6E8A-4147-A177-3AD203B41FA5}">
                      <a16:colId xmlns:a16="http://schemas.microsoft.com/office/drawing/2014/main" val="2519015647"/>
                    </a:ext>
                  </a:extLst>
                </a:gridCol>
              </a:tblGrid>
              <a:tr h="547019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</a:rPr>
                        <a:t>Thermal Source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</a:rPr>
                        <a:t>Capacity (GW)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 dirty="0">
                          <a:solidFill>
                            <a:srgbClr val="FFFFFF"/>
                          </a:solidFill>
                          <a:effectLst/>
                          <a:latin typeface="Segoe UI" panose="020B0502040204020203" pitchFamily="34" charset="0"/>
                        </a:rPr>
                        <a:t>Estimated Book Valu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1001511"/>
                  </a:ext>
                </a:extLst>
              </a:tr>
              <a:tr h="384736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Natural Gas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6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6.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6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</a:rPr>
                        <a:t>$7-9 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6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45657049"/>
                  </a:ext>
                </a:extLst>
              </a:tr>
              <a:tr h="3743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Co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4.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</a:rPr>
                        <a:t>$2-2.5 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90528580"/>
                  </a:ext>
                </a:extLst>
              </a:tr>
              <a:tr h="3743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Oil/Diesel/Petcoke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6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1.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6E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</a:rPr>
                        <a:t>$0.5-1.0 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BD6E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17464197"/>
                  </a:ext>
                </a:extLst>
              </a:tr>
              <a:tr h="374338"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Total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 dirty="0">
                          <a:solidFill>
                            <a:srgbClr val="000000"/>
                          </a:solidFill>
                          <a:effectLst/>
                          <a:latin typeface="Segoe UI" panose="020B0502040204020203" pitchFamily="34" charset="0"/>
                        </a:rPr>
                        <a:t>22.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5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sz="2000" b="1" i="0" u="none" strike="noStrike" dirty="0">
                          <a:solidFill>
                            <a:schemeClr val="tx1"/>
                          </a:solidFill>
                          <a:effectLst/>
                          <a:latin typeface="Segoe UI" panose="020B0502040204020203" pitchFamily="34" charset="0"/>
                        </a:rPr>
                        <a:t>$10-13 Bn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7ECF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4036838"/>
                  </a:ext>
                </a:extLst>
              </a:tr>
            </a:tbl>
          </a:graphicData>
        </a:graphic>
      </p:graphicFrame>
      <p:sp>
        <p:nvSpPr>
          <p:cNvPr id="20" name="TextBox 19">
            <a:extLst>
              <a:ext uri="{FF2B5EF4-FFF2-40B4-BE49-F238E27FC236}">
                <a16:creationId xmlns:a16="http://schemas.microsoft.com/office/drawing/2014/main" id="{1EC300F9-CACB-67AC-2FE6-3F7690F4000A}"/>
              </a:ext>
            </a:extLst>
          </p:cNvPr>
          <p:cNvSpPr txBox="1"/>
          <p:nvPr/>
        </p:nvSpPr>
        <p:spPr>
          <a:xfrm>
            <a:off x="380003" y="1366886"/>
            <a:ext cx="11139757" cy="14200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2000" b="1" dirty="0"/>
              <a:t>Total estimated thermal capacity in Canada is 22 GW</a:t>
            </a:r>
          </a:p>
          <a:p>
            <a:pPr algn="just">
              <a:lnSpc>
                <a:spcPct val="150000"/>
              </a:lnSpc>
            </a:pPr>
            <a:r>
              <a:rPr lang="en-US" sz="2000" dirty="0"/>
              <a:t>Canada’s thermal capacity valued at </a:t>
            </a:r>
            <a:r>
              <a:rPr lang="en-US" sz="2000" b="1" dirty="0"/>
              <a:t>approximately ~$11 billion</a:t>
            </a:r>
            <a:endParaRPr lang="en-US" sz="2000" dirty="0"/>
          </a:p>
          <a:p>
            <a:pPr algn="just">
              <a:lnSpc>
                <a:spcPct val="150000"/>
              </a:lnSpc>
            </a:pPr>
            <a:r>
              <a:rPr lang="en-US" sz="2000" dirty="0"/>
              <a:t>Replacement cost for </a:t>
            </a:r>
            <a:r>
              <a:rPr lang="en-US" sz="2000" b="1" dirty="0"/>
              <a:t>22 GW baseload thermal </a:t>
            </a:r>
            <a:r>
              <a:rPr lang="en-US" sz="2000" dirty="0"/>
              <a:t>with </a:t>
            </a:r>
            <a:r>
              <a:rPr lang="en-US" sz="2000" b="1" dirty="0"/>
              <a:t>renewables </a:t>
            </a:r>
            <a:r>
              <a:rPr lang="en-US" sz="2000" dirty="0"/>
              <a:t>estimated at </a:t>
            </a:r>
            <a:r>
              <a:rPr lang="en-US" sz="2000" b="1" dirty="0"/>
              <a:t>$150 -175 billion</a:t>
            </a:r>
          </a:p>
        </p:txBody>
      </p:sp>
    </p:spTree>
    <p:extLst>
      <p:ext uri="{BB962C8B-B14F-4D97-AF65-F5344CB8AC3E}">
        <p14:creationId xmlns:p14="http://schemas.microsoft.com/office/powerpoint/2010/main" val="1556113198"/>
      </p:ext>
    </p:extLst>
  </p:cSld>
  <p:clrMapOvr>
    <a:masterClrMapping/>
  </p:clrMapOvr>
  <p:transition spd="slow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EEAA5C8-9E00-2700-2B16-8DAD23265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64" y="365740"/>
            <a:ext cx="9625982" cy="818822"/>
          </a:xfrm>
        </p:spPr>
        <p:txBody>
          <a:bodyPr anchor="t">
            <a:normAutofit/>
          </a:bodyPr>
          <a:lstStyle/>
          <a:p>
            <a:r>
              <a:rPr lang="en-CA" dirty="0"/>
              <a:t>Policy: Clear and consistent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EEC2923-7EA8-1165-68CA-7F7D9F020780}"/>
              </a:ext>
            </a:extLst>
          </p:cNvPr>
          <p:cNvSpPr txBox="1"/>
          <p:nvPr/>
        </p:nvSpPr>
        <p:spPr>
          <a:xfrm>
            <a:off x="490538" y="1128742"/>
            <a:ext cx="10999436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dirty="0"/>
              <a:t>Take a </a:t>
            </a:r>
            <a:r>
              <a:rPr lang="en-US" sz="2400" b="1" dirty="0"/>
              <a:t>Crawl, Walk, Run </a:t>
            </a:r>
            <a:r>
              <a:rPr lang="en-US" sz="2400" dirty="0"/>
              <a:t>approach on policy - clear consistent policy which enables capital investment and reduces investor uncertainty.</a:t>
            </a:r>
          </a:p>
          <a:p>
            <a:endParaRPr lang="en-US" sz="2400" dirty="0"/>
          </a:p>
          <a:p>
            <a:r>
              <a:rPr lang="en-US" sz="2400" b="1" dirty="0"/>
              <a:t>Change in Policy Risk </a:t>
            </a:r>
            <a:r>
              <a:rPr lang="en-US" sz="2400" dirty="0"/>
              <a:t>– ‘Stroke of pen’ risk on climate policy create uncertainty for investors and increase cost of capital</a:t>
            </a:r>
          </a:p>
          <a:p>
            <a:endParaRPr lang="en-US" sz="2400" dirty="0"/>
          </a:p>
          <a:p>
            <a:r>
              <a:rPr lang="en-US" sz="2400" b="1" dirty="0"/>
              <a:t>Capital Investment </a:t>
            </a:r>
            <a:r>
              <a:rPr lang="en-US" sz="2400" dirty="0"/>
              <a:t>– Capital requires revenue certainty to entice investment</a:t>
            </a:r>
          </a:p>
          <a:p>
            <a:endParaRPr lang="en-US" sz="2400" b="1" dirty="0"/>
          </a:p>
          <a:p>
            <a:r>
              <a:rPr lang="en-US" sz="2400" b="1" dirty="0"/>
              <a:t>Permitting </a:t>
            </a:r>
            <a:r>
              <a:rPr lang="en-US" sz="2400" dirty="0"/>
              <a:t>– Consistency and harmonization across Federal and Provincial Governments is key for developers and investors</a:t>
            </a:r>
          </a:p>
          <a:p>
            <a:endParaRPr lang="en-US" sz="2400" b="1" dirty="0"/>
          </a:p>
          <a:p>
            <a:r>
              <a:rPr lang="en-US" sz="2400" b="1" dirty="0"/>
              <a:t>Agencies </a:t>
            </a:r>
            <a:r>
              <a:rPr lang="en-US" sz="2400" dirty="0"/>
              <a:t>– Proper resourcing and empowerment to make decisions is essential </a:t>
            </a:r>
            <a:endParaRPr lang="en-US" sz="2400" b="1" dirty="0"/>
          </a:p>
        </p:txBody>
      </p:sp>
    </p:spTree>
    <p:extLst>
      <p:ext uri="{BB962C8B-B14F-4D97-AF65-F5344CB8AC3E}">
        <p14:creationId xmlns:p14="http://schemas.microsoft.com/office/powerpoint/2010/main" val="12702525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6EEAA5C8-9E00-2700-2B16-8DAD232654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4064" y="365740"/>
            <a:ext cx="9625982" cy="818822"/>
          </a:xfrm>
        </p:spPr>
        <p:txBody>
          <a:bodyPr anchor="t">
            <a:normAutofit/>
          </a:bodyPr>
          <a:lstStyle/>
          <a:p>
            <a:r>
              <a:rPr lang="en-CA" dirty="0"/>
              <a:t>Conclusio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ABE8655-7063-40DD-C376-0F75E04FFC09}"/>
              </a:ext>
            </a:extLst>
          </p:cNvPr>
          <p:cNvSpPr txBox="1"/>
          <p:nvPr/>
        </p:nvSpPr>
        <p:spPr>
          <a:xfrm>
            <a:off x="494064" y="1508066"/>
            <a:ext cx="10720036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/>
              <a:t>Investors are eager to make investments in Canada</a:t>
            </a:r>
            <a:r>
              <a:rPr lang="en-US" sz="2400" dirty="0"/>
              <a:t>, however, attracting capital is competitive and investors need clear reasons to invest here.</a:t>
            </a:r>
          </a:p>
          <a:p>
            <a:endParaRPr lang="en-US" sz="2400" dirty="0"/>
          </a:p>
          <a:p>
            <a:r>
              <a:rPr lang="en-US" sz="2400" b="1" dirty="0"/>
              <a:t>Disaggregating the cost of the energy transition into components </a:t>
            </a:r>
            <a:r>
              <a:rPr lang="en-US" sz="2400" dirty="0"/>
              <a:t>of the investment required for decarbonization and the investment needed for electrification makes the problem less intractable.</a:t>
            </a:r>
          </a:p>
          <a:p>
            <a:endParaRPr lang="en-US" sz="2400" dirty="0"/>
          </a:p>
          <a:p>
            <a:r>
              <a:rPr lang="en-US" sz="2400" b="1" dirty="0"/>
              <a:t>Policy needs to be stable, transparent and uncomplicated</a:t>
            </a:r>
            <a:r>
              <a:rPr lang="en-US" sz="2400" dirty="0"/>
              <a:t>. Governments must take a thoughtful and measured approach. In Canada, the solution is going to be different by each province given different degree of decarbonization and market context.</a:t>
            </a:r>
          </a:p>
        </p:txBody>
      </p:sp>
    </p:spTree>
    <p:extLst>
      <p:ext uri="{BB962C8B-B14F-4D97-AF65-F5344CB8AC3E}">
        <p14:creationId xmlns:p14="http://schemas.microsoft.com/office/powerpoint/2010/main" val="222027801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IBAQEBAQEBAQEBAQEBAQIAAAAAAAAAAwAAAAMAAAAA/////wQAPwwAAAAAAAAAAAAAIAD///////////////8AAAD///////////////8DAAAAAgD///////8DAAAAAg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2p/l0TpwbFPtUem/jDjVYIFAAAAAAADAAAAAAADAAAAAwADAAAAAAD///////8DAAEA////////BAAAAAMAEAALhQ3EUc73EkyCPydaEwMYfAUAAAABAAMAAAACAAMAAAA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CAMAAAAAAAAAAAAACAB////////////////AAAA////////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QEDAAAAAgD///////8aAAZMaW5rZWRTaGFwZXNEYXRhUHJvcGVydHlfMAUAAAAAAAQAAAADAAQAAAABAAMAAgEDAAAAAwD///////8lAAZMaW5rZWRTaGFwZVByZXNlbnRhdGlvblNldHRpbmdzRGF0YV8wBQAAAAEABAAAAAAABAAAAAIA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ODgAAAAAAAAAAAAD/////gwCDAAAABV9pZAAQAAAABGp/l0TpwbFPtUem/jDjVYIDRGF0YQAbAAAABExpbmtlZFNoYXBlRGF0YQAFAAAAAAACTmFtZQAZAAAATGlua2VkU2hhcGVzRGF0YVByb3BlcnR5ABBWZXJzaW9uAAAAAAAJTGFzdFdyaXRlAAHs6QiKAQAAAAEA/////8YAxgAAAAVfaWQAEAAAAASFDcRRzvcSTII/J1oTAxh8A0RhdGEAUwAAAAhQcmVzZW50YXRpb25TY2FubmVkRm9yTGlua2VkU2hhcGVzAAECTnVtYmVyRm9ybWF0U2VwYXJhdG9yTW9kZQAKAAAAQXV0b21hdGljAAACTmFtZQAkAAAATGlua2VkU2hhcGVQcmVzZW50YXRpb25TZXR0aW5nc0RhdGEAEFZlcnNpb24AAAAAAAlMYXN0V3JpdGUAGO7pCIoB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  <p:tag name="ENGAGE" val="{&quot;SavedSwatch&quot;:&quot;-11240108|-11700327|-8754175|-9605520|-12039861|NRCan&quot;,&quot;Id&quot;:&quot;64f082b038373848b819f72c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SKIPVERSION" val="01.01.0001 00:00:00"/>
  <p:tag name="MIO_EKGUID" val="1960fa4f-7b6b-4d62-bc6a-fe8fddb8160a"/>
  <p:tag name="MIO_UPDATE" val="True"/>
  <p:tag name="MIO_DBID" val="745C39C1-7C80-4580-BBB5-A5011E5E073F"/>
  <p:tag name="MIO_OBJECTNAME" val="Northland Power Master"/>
  <p:tag name="MIO_FALLBACK_LAYOUT" val="12"/>
  <p:tag name="MIO_SHOW_DATE" val="False"/>
  <p:tag name="MIO_SHOW_FOOTER" val="False"/>
  <p:tag name="MIO_SHOW_PAGENUMBER" val="False"/>
  <p:tag name="MIO_AVOID_BLANK_LAYOUT" val="True"/>
  <p:tag name="MIO_CD_LAYOUT_VALID_AREA" val="False"/>
  <p:tag name="MIO_EMBED_FONT" val="False"/>
  <p:tag name="MIO_MATCH_COLOR_SCHEME" val="False"/>
  <p:tag name="MIO_NUMBER_OF_VALID_LAYOUTS" val="41"/>
  <p:tag name="MIO_VERSION" val="20.04.2022 15:51:03"/>
  <p:tag name="MIO_LASTDOWNLOADED" val="21.04.2022 09:03:01.627"/>
  <p:tag name="MIO_CDID" val="9361e504-9d76-43ee-8531-4ee2d0f2c3a7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SKIP_CDCHECK" val="Tru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heme/theme1.xml><?xml version="1.0" encoding="utf-8"?>
<a:theme xmlns:a="http://schemas.openxmlformats.org/drawingml/2006/main" name="Northland Power Theme">
  <a:themeElements>
    <a:clrScheme name="Northland">
      <a:dk1>
        <a:sysClr val="windowText" lastClr="000000"/>
      </a:dk1>
      <a:lt1>
        <a:sysClr val="window" lastClr="FFFFFF"/>
      </a:lt1>
      <a:dk2>
        <a:srgbClr val="606060"/>
      </a:dk2>
      <a:lt2>
        <a:srgbClr val="E7E6E6"/>
      </a:lt2>
      <a:accent1>
        <a:srgbClr val="0075C9"/>
      </a:accent1>
      <a:accent2>
        <a:srgbClr val="538416"/>
      </a:accent2>
      <a:accent3>
        <a:srgbClr val="004986"/>
      </a:accent3>
      <a:accent4>
        <a:srgbClr val="00B2A9"/>
      </a:accent4>
      <a:accent5>
        <a:srgbClr val="606060"/>
      </a:accent5>
      <a:accent6>
        <a:srgbClr val="88D824"/>
      </a:accent6>
      <a:hlink>
        <a:srgbClr val="0075C9"/>
      </a:hlink>
      <a:folHlink>
        <a:srgbClr val="00B2A9"/>
      </a:folHlink>
    </a:clrScheme>
    <a:fontScheme name="Northland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Purple">
      <a:srgbClr val="5A1AD9"/>
    </a:custClr>
    <a:custClr name="Orange">
      <a:srgbClr val="FF6C00"/>
    </a:custClr>
    <a:custClr name="Yellow">
      <a:srgbClr val="D9CD0F"/>
    </a:custClr>
    <a:custClr name="Red">
      <a:srgbClr val="D91A44"/>
    </a:custClr>
    <a:custClr name="Blue">
      <a:srgbClr val="44546A"/>
    </a:custClr>
  </a:custClrLst>
  <a:extLst>
    <a:ext uri="{05A4C25C-085E-4340-85A3-A5531E510DB2}">
      <thm15:themeFamily xmlns:thm15="http://schemas.microsoft.com/office/thememl/2012/main" name="Presentation2" id="{FD785A0B-5A1E-4835-8B73-3331D5AC90AD}" vid="{52F592AB-95AB-40FA-9A72-56E9B7CA9847}"/>
    </a:ext>
  </a:extLst>
</a:theme>
</file>

<file path=ppt/theme/theme2.xml><?xml version="1.0" encoding="utf-8"?>
<a:theme xmlns:a="http://schemas.openxmlformats.org/drawingml/2006/main" name="Office Theme">
  <a:themeElements>
    <a:clrScheme name="Northland">
      <a:dk1>
        <a:sysClr val="windowText" lastClr="000000"/>
      </a:dk1>
      <a:lt1>
        <a:sysClr val="window" lastClr="FFFFFF"/>
      </a:lt1>
      <a:dk2>
        <a:srgbClr val="606060"/>
      </a:dk2>
      <a:lt2>
        <a:srgbClr val="E7E6E6"/>
      </a:lt2>
      <a:accent1>
        <a:srgbClr val="0075C9"/>
      </a:accent1>
      <a:accent2>
        <a:srgbClr val="538416"/>
      </a:accent2>
      <a:accent3>
        <a:srgbClr val="004986"/>
      </a:accent3>
      <a:accent4>
        <a:srgbClr val="00B2A9"/>
      </a:accent4>
      <a:accent5>
        <a:srgbClr val="606060"/>
      </a:accent5>
      <a:accent6>
        <a:srgbClr val="88D824"/>
      </a:accent6>
      <a:hlink>
        <a:srgbClr val="0075C9"/>
      </a:hlink>
      <a:folHlink>
        <a:srgbClr val="00B2A9"/>
      </a:folHlink>
    </a:clrScheme>
    <a:fontScheme name="Northland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Northland">
      <a:dk1>
        <a:sysClr val="windowText" lastClr="000000"/>
      </a:dk1>
      <a:lt1>
        <a:sysClr val="window" lastClr="FFFFFF"/>
      </a:lt1>
      <a:dk2>
        <a:srgbClr val="606060"/>
      </a:dk2>
      <a:lt2>
        <a:srgbClr val="E7E6E6"/>
      </a:lt2>
      <a:accent1>
        <a:srgbClr val="0075C9"/>
      </a:accent1>
      <a:accent2>
        <a:srgbClr val="538416"/>
      </a:accent2>
      <a:accent3>
        <a:srgbClr val="004986"/>
      </a:accent3>
      <a:accent4>
        <a:srgbClr val="00B2A9"/>
      </a:accent4>
      <a:accent5>
        <a:srgbClr val="606060"/>
      </a:accent5>
      <a:accent6>
        <a:srgbClr val="88D824"/>
      </a:accent6>
      <a:hlink>
        <a:srgbClr val="0075C9"/>
      </a:hlink>
      <a:folHlink>
        <a:srgbClr val="00B2A9"/>
      </a:folHlink>
    </a:clrScheme>
    <a:fontScheme name="Northland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D7C8D37A0BD6B48ACAA1A807DF704EC" ma:contentTypeVersion="13" ma:contentTypeDescription="Create a new document." ma:contentTypeScope="" ma:versionID="47df1cf5965f93428656a37bc8aa8402">
  <xsd:schema xmlns:xsd="http://www.w3.org/2001/XMLSchema" xmlns:xs="http://www.w3.org/2001/XMLSchema" xmlns:p="http://schemas.microsoft.com/office/2006/metadata/properties" xmlns:ns2="41d7ecdc-86eb-4dc9-adcd-71b186a5981c" xmlns:ns3="a6f40487-0139-4d54-ab5f-10ac693d7892" targetNamespace="http://schemas.microsoft.com/office/2006/metadata/properties" ma:root="true" ma:fieldsID="30d0800eef6422f3d8570e94009cc250" ns2:_="" ns3:_="">
    <xsd:import namespace="41d7ecdc-86eb-4dc9-adcd-71b186a5981c"/>
    <xsd:import namespace="a6f40487-0139-4d54-ab5f-10ac693d789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1d7ecdc-86eb-4dc9-adcd-71b186a5981c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MediaServiceObjectDetectorVersions" ma:index="2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6f40487-0139-4d54-ab5f-10ac693d7892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1B6A840-F83B-44C9-894C-E4F2140A0D98}">
  <ds:schemaRefs>
    <ds:schemaRef ds:uri="http://schemas.microsoft.com/office/2006/metadata/properties"/>
    <ds:schemaRef ds:uri="http://www.w3.org/XML/1998/namespace"/>
    <ds:schemaRef ds:uri="a6f40487-0139-4d54-ab5f-10ac693d7892"/>
    <ds:schemaRef ds:uri="41d7ecdc-86eb-4dc9-adcd-71b186a5981c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purl.org/dc/dcmitype/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5359D701-6BC4-41B3-9848-C7D9BBC84C0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B9046AD-11FE-4556-B0FE-973FB05CDE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1d7ecdc-86eb-4dc9-adcd-71b186a5981c"/>
    <ds:schemaRef ds:uri="a6f40487-0139-4d54-ab5f-10ac693d789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219619fd-75dc-48cb-820d-8f683a95dd8b}" enabled="1" method="Privileged" siteId="{05c95b33-90ca-49d5-b644-288b930b912b}" contentBits="1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901</TotalTime>
  <Words>775</Words>
  <Application>Microsoft Office PowerPoint</Application>
  <PresentationFormat>Widescreen</PresentationFormat>
  <Paragraphs>129</Paragraphs>
  <Slides>7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3" baseType="lpstr">
      <vt:lpstr>Arial</vt:lpstr>
      <vt:lpstr>Calibri</vt:lpstr>
      <vt:lpstr>Century Gothic</vt:lpstr>
      <vt:lpstr>Segoe UI</vt:lpstr>
      <vt:lpstr>Segoe UI Light</vt:lpstr>
      <vt:lpstr>Northland Power Theme</vt:lpstr>
      <vt:lpstr>7th Annual Electricity Workshop  Decarbonization policies and innovations in utility rate design</vt:lpstr>
      <vt:lpstr>Level of Grid Decarbonization – G7 Nations</vt:lpstr>
      <vt:lpstr>Credit Scores and Credit Default Spreads</vt:lpstr>
      <vt:lpstr>Capital for Energy Transition</vt:lpstr>
      <vt:lpstr>Estimated Cost of Decarbonization</vt:lpstr>
      <vt:lpstr>Policy: Clear and consistent</vt:lpstr>
      <vt:lpstr>Conclus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ohanna Rehnvall</dc:creator>
  <cp:lastModifiedBy>Wendy Franks</cp:lastModifiedBy>
  <cp:revision>192</cp:revision>
  <dcterms:created xsi:type="dcterms:W3CDTF">2022-03-29T17:28:16Z</dcterms:created>
  <dcterms:modified xsi:type="dcterms:W3CDTF">2023-10-13T23:19:2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D7C8D37A0BD6B48ACAA1A807DF704EC</vt:lpwstr>
  </property>
  <property fmtid="{D5CDD505-2E9C-101B-9397-08002B2CF9AE}" pid="3" name="Order">
    <vt:r8>282500</vt:r8>
  </property>
  <property fmtid="{D5CDD505-2E9C-101B-9397-08002B2CF9AE}" pid="4" name="xd_Signature">
    <vt:bool>false</vt:bool>
  </property>
  <property fmtid="{D5CDD505-2E9C-101B-9397-08002B2CF9AE}" pid="5" name="xd_ProgID">
    <vt:lpwstr/>
  </property>
  <property fmtid="{D5CDD505-2E9C-101B-9397-08002B2CF9AE}" pid="6" name="_ExtendedDescription">
    <vt:lpwstr/>
  </property>
  <property fmtid="{D5CDD505-2E9C-101B-9397-08002B2CF9AE}" pid="7" name="TriggerFlowInfo">
    <vt:lpwstr/>
  </property>
  <property fmtid="{D5CDD505-2E9C-101B-9397-08002B2CF9AE}" pid="8" name="ComplianceAssetId">
    <vt:lpwstr/>
  </property>
  <property fmtid="{D5CDD505-2E9C-101B-9397-08002B2CF9AE}" pid="9" name="TemplateUrl">
    <vt:lpwstr/>
  </property>
  <property fmtid="{D5CDD505-2E9C-101B-9397-08002B2CF9AE}" pid="10" name="ClassificationContentMarkingHeaderLocations">
    <vt:lpwstr>Northland Power Theme:10</vt:lpwstr>
  </property>
  <property fmtid="{D5CDD505-2E9C-101B-9397-08002B2CF9AE}" pid="11" name="ClassificationContentMarkingHeaderText">
    <vt:lpwstr>UNCLASSIFIED - NON CLASSIFIÉ</vt:lpwstr>
  </property>
</Properties>
</file>